
<file path=[Content_Types].xml><?xml version="1.0" encoding="utf-8"?>
<Types xmlns="http://schemas.openxmlformats.org/package/2006/content-types">
  <Default Extension="jpg" ContentType="image/jpeg"/>
  <Default Extension="xlsx" ContentType="application/vnd.openxmlformats-officedocument.spreadsheetml.sheet"/>
  <Default Extension="emf" ContentType="image/x-emf"/>
  <Default Extension="gif" ContentType="image/gif"/>
  <Default Extension="png" ContentType="image/png"/>
  <Default Extension="fntdata" ContentType="application/x-fontdata"/>
  <Default Extension="xml" ContentType="application/xml"/>
  <Default Extension="vml" ContentType="application/vnd.openxmlformats-officedocument.vmlDrawing"/>
  <Default Extension="bin" ContentType="application/vnd.openxmlformats-officedocument.oleObject"/>
  <Default Extension="font" ContentType="application/x-fontdata"/>
  <Default Extension="wdp" ContentType="image/vnd.ms-photo"/>
  <Default Extension="rels" ContentType="application/vnd.openxmlformats-package.relationships+xml"/>
  <Default Extension="jpeg" ContentType="image/jpeg"/>
  <Override PartName="/ppt/slides/slide31.xml" ContentType="application/vnd.openxmlformats-officedocument.presentationml.slid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slides/slide15.xml" ContentType="application/vnd.openxmlformats-officedocument.presentationml.slide+xml"/>
  <Override PartName="/ppt/slides/slide13.xml" ContentType="application/vnd.openxmlformats-officedocument.presentationml.slide+xml"/>
  <Override PartName="/ppt/slideLayouts/slideLayout16.xml" ContentType="application/vnd.openxmlformats-officedocument.presentationml.slideLayout+xml"/>
  <Override PartName="/ppt/slides/slide14.xml" ContentType="application/vnd.openxmlformats-officedocument.presentationml.slide+xml"/>
  <Override PartName="/ppt/theme/themeOverride2.xml" ContentType="application/vnd.openxmlformats-officedocument.themeOverride+xml"/>
  <Override PartName="/ppt/slideLayouts/slideLayout13.xml" ContentType="application/vnd.openxmlformats-officedocument.presentationml.slideLayout+xml"/>
  <Override PartName="/ppt/charts/style3.xml" ContentType="application/vnd.ms-office.chartstyle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s/slide8.xml" ContentType="application/vnd.openxmlformats-officedocument.presentationml.slide+xml"/>
  <Override PartName="/ppt/charts/style4.xml" ContentType="application/vnd.ms-office.chartstyle+xml"/>
  <Override PartName="/ppt/slideLayouts/slideLayout5.xml" ContentType="application/vnd.openxmlformats-officedocument.presentationml.slideLayout+xml"/>
  <Override PartName="/ppt/charts/style2.xml" ContentType="application/vnd.ms-office.chartstyle+xml"/>
  <Override PartName="/ppt/slideLayouts/slideLayout10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s/slide26.xml" ContentType="application/vnd.openxmlformats-officedocument.presentationml.slide+xml"/>
  <Override PartName="/ppt/theme/themeOverride4.xml" ContentType="application/vnd.openxmlformats-officedocument.themeOverride+xml"/>
  <Override PartName="/ppt/slideLayouts/slideLayout21.xml" ContentType="application/vnd.openxmlformats-officedocument.presentationml.slideLayout+xml"/>
  <Override PartName="/ppt/charts/chart2.xml" ContentType="application/vnd.openxmlformats-officedocument.drawingml.chart+xml"/>
  <Override PartName="/ppt/slides/slide10.xml" ContentType="application/vnd.openxmlformats-officedocument.presentationml.slide+xml"/>
  <Override PartName="/ppt/charts/chart8.xml" ContentType="application/vnd.openxmlformats-officedocument.drawingml.chart+xml"/>
  <Override PartName="/ppt/charts/chart10.xml" ContentType="application/vnd.openxmlformats-officedocument.drawingml.chart+xml"/>
  <Override PartName="/ppt/slides/slide16.xml" ContentType="application/vnd.openxmlformats-officedocument.presentationml.slide+xml"/>
  <Override PartName="/ppt/drawings/drawing1.xml" ContentType="application/vnd.openxmlformats-officedocument.drawingml.chartshapes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bleStyles.xml" ContentType="application/vnd.openxmlformats-officedocument.presentationml.tableStyles+xml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Override PartName="/ppt/notesMasters/notesMaster1.xml" ContentType="application/vnd.openxmlformats-officedocument.presentationml.notesMaster+xml"/>
  <Override PartName="/ppt/slides/slide23.xml" ContentType="application/vnd.openxmlformats-officedocument.presentationml.slide+xml"/>
  <Override PartName="/ppt/slides/slide27.xml" ContentType="application/vnd.openxmlformats-officedocument.presentationml.slide+xml"/>
  <Override PartName="/ppt/theme/theme4.xml" ContentType="application/vnd.openxmlformats-officedocument.theme+xml"/>
  <Override PartName="/ppt/slides/slide33.xml" ContentType="application/vnd.openxmlformats-officedocument.presentationml.slide+xml"/>
  <Override PartName="/ppt/slides/slide12.xml" ContentType="application/vnd.openxmlformats-officedocument.presentationml.slide+xml"/>
  <Override PartName="/ppt/viewProps.xml" ContentType="application/vnd.openxmlformats-officedocument.presentationml.viewProps+xml"/>
  <Override PartName="/ppt/charts/colors4.xml" ContentType="application/vnd.ms-office.chartcolorstyle+xml"/>
  <Override PartName="/ppt/charts/chart6.xml" ContentType="application/vnd.openxmlformats-officedocument.drawingml.chart+xml"/>
  <Override PartName="/docProps/core.xml" ContentType="application/vnd.openxmlformats-package.core-properties+xml"/>
  <Override PartName="/ppt/charts/chart7.xml" ContentType="application/vnd.openxmlformats-officedocument.drawingml.chart+xml"/>
  <Override PartName="/ppt/slides/slide19.xml" ContentType="application/vnd.openxmlformats-officedocument.presentationml.slide+xml"/>
  <Override PartName="/docProps/app.xml" ContentType="application/vnd.openxmlformats-officedocument.extended-properties+xml"/>
  <Override PartName="/ppt/charts/style1.xml" ContentType="application/vnd.ms-office.chartstyle+xml"/>
  <Override PartName="/ppt/slides/slide6.xml" ContentType="application/vnd.openxmlformats-officedocument.presentationml.slide+xml"/>
  <Override PartName="/ppt/slides/slide9.xml" ContentType="application/vnd.openxmlformats-officedocument.presentationml.slide+xml"/>
  <Override PartName="/ppt/theme/themeOverride5.xml" ContentType="application/vnd.openxmlformats-officedocument.themeOverride+xml"/>
  <Override PartName="/ppt/slides/slide22.xml" ContentType="application/vnd.openxmlformats-officedocument.presentationml.slide+xml"/>
  <Override PartName="/ppt/charts/chart1.xml" ContentType="application/vnd.openxmlformats-officedocument.drawingml.chart+xml"/>
  <Override PartName="/ppt/slides/slide30.xml" ContentType="application/vnd.openxmlformats-officedocument.presentationml.slide+xml"/>
  <Override PartName="/ppt/slideMasters/slideMaster1.xml" ContentType="application/vnd.openxmlformats-officedocument.presentationml.slideMaster+xml"/>
  <Override PartName="/ppt/charts/chart9.xml" ContentType="application/vnd.openxmlformats-officedocument.drawingml.chart+xml"/>
  <Override PartName="/ppt/handoutMasters/handoutMaster1.xml" ContentType="application/vnd.openxmlformats-officedocument.presentationml.handoutMaster+xml"/>
  <Override PartName="/ppt/slides/slide32.xml" ContentType="application/vnd.openxmlformats-officedocument.presentationml.slide+xml"/>
  <Override PartName="/ppt/slides/slide5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6.xml" ContentType="application/vnd.openxmlformats-officedocument.presentationml.slideLayout+xml"/>
  <Override PartName="/ppt/slides/slide24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s/slide28.xml" ContentType="application/vnd.openxmlformats-officedocument.presentationml.slide+xml"/>
  <Override PartName="/ppt/charts/colors3.xml" ContentType="application/vnd.ms-office.chartcolorstyle+xml"/>
  <Override PartName="/ppt/slides/slide18.xml" ContentType="application/vnd.openxmlformats-officedocument.presentationml.slide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s/slide4.xml" ContentType="application/vnd.openxmlformats-officedocument.presentationml.slide+xml"/>
  <Override PartName="/ppt/slideMasters/slideMaster2.xml" ContentType="application/vnd.openxmlformats-officedocument.presentationml.slideMaster+xml"/>
  <Override PartName="/ppt/slideLayouts/slideLayout20.xml" ContentType="application/vnd.openxmlformats-officedocument.presentationml.slideLayout+xml"/>
  <Override PartName="/ppt/slides/slide7.xml" ContentType="application/vnd.openxmlformats-officedocument.presentationml.slide+xml"/>
  <Override PartName="/ppt/slides/slide34.xml" ContentType="application/vnd.openxmlformats-officedocument.presentationml.slide+xml"/>
  <Override PartName="/ppt/slideLayouts/slideLayout3.xml" ContentType="application/vnd.openxmlformats-officedocument.presentationml.slideLayout+xml"/>
  <Override PartName="/ppt/slides/slide21.xml" ContentType="application/vnd.openxmlformats-officedocument.presentationml.slide+xml"/>
  <Override PartName="/ppt/slideLayouts/slideLayout19.xml" ContentType="application/vnd.openxmlformats-officedocument.presentationml.slideLayout+xml"/>
  <Override PartName="/ppt/charts/colors1.xml" ContentType="application/vnd.ms-office.chartcolorstyle+xml"/>
  <Override PartName="/ppt/slideLayouts/slideLayout9.xml" ContentType="application/vnd.openxmlformats-officedocument.presentationml.slideLayout+xml"/>
  <Override PartName="/ppt/charts/chart4.xml" ContentType="application/vnd.openxmlformats-officedocument.drawingml.chart+xml"/>
  <Override PartName="/ppt/slideLayouts/slideLayout14.xml" ContentType="application/vnd.openxmlformats-officedocument.presentationml.slideLayout+xml"/>
  <Override PartName="/ppt/presProps.xml" ContentType="application/vnd.openxmlformats-officedocument.presentationml.presProps+xml"/>
  <Override PartName="/ppt/theme/themeOverride6.xml" ContentType="application/vnd.openxmlformats-officedocument.themeOverride+xml"/>
  <Override PartName="/ppt/slides/slide20.xml" ContentType="application/vnd.openxmlformats-officedocument.presentationml.slide+xml"/>
  <Override PartName="/ppt/slideLayouts/slideLayout11.xml" ContentType="application/vnd.openxmlformats-officedocument.presentationml.slideLayout+xml"/>
  <Override PartName="/ppt/slides/slide17.xml" ContentType="application/vnd.openxmlformats-officedocument.presentationml.slide+xml"/>
  <Override PartName="/ppt/slides/slide11.xml" ContentType="application/vnd.openxmlformats-officedocument.presentationml.slide+xml"/>
  <Override PartName="/ppt/charts/chart3.xml" ContentType="application/vnd.openxmlformats-officedocument.drawingml.chart+xml"/>
  <Override PartName="/ppt/slideLayouts/slideLayout12.xml" ContentType="application/vnd.openxmlformats-officedocument.presentationml.slideLayout+xml"/>
  <Override PartName="/ppt/tags/tag3.xml" ContentType="application/vnd.openxmlformats-officedocument.presentationml.tags+xml"/>
  <Override PartName="/ppt/slides/slide3.xml" ContentType="application/vnd.openxmlformats-officedocument.presentationml.slide+xml"/>
  <Override PartName="/ppt/slides/slide35.xml" ContentType="application/vnd.openxmlformats-officedocument.presentationml.slide+xml"/>
  <Override PartName="/ppt/slides/slide2.xml" ContentType="application/vnd.openxmlformats-officedocument.presentationml.slide+xml"/>
  <Override PartName="/ppt/slideLayouts/slideLayout7.xml" ContentType="application/vnd.openxmlformats-officedocument.presentationml.slideLayout+xml"/>
  <Override PartName="/ppt/charts/colors2.xml" ContentType="application/vnd.ms-office.chartcolorstyle+xml"/>
  <Override PartName="/ppt/theme/themeOverride3.xml" ContentType="application/vnd.openxmlformats-officedocument.themeOverride+xml"/>
  <Override PartName="/ppt/slides/slide29.xml" ContentType="application/vnd.openxmlformats-officedocument.presentationml.slide+xml"/>
  <Override PartName="/ppt/slides/slide25.xml" ContentType="application/vnd.openxmlformats-officedocument.presentationml.slide+xml"/>
  <Override PartName="/ppt/slideLayouts/slideLayout23.xml" ContentType="application/vnd.openxmlformats-officedocument.presentationml.slideLayout+xml"/>
  <Override PartName="/ppt/theme/theme1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p14="http://schemas.microsoft.com/office/powerpoint/2010/main" xmlns:mc="http://schemas.openxmlformats.org/markup-compatibility/2006" xmlns:c="http://schemas.openxmlformats.org/drawingml/2006/chart" xmlns:v="urn:schemas-microsoft-com:vml" xmlns:dsp="http://schemas.microsoft.com/office/drawing/2008/diagram" xmlns:dgm="http://schemas.openxmlformats.org/drawingml/2006/diagram" saveSubsetFonts="1" embedTrueTypeFonts="1">
  <p:sldMasterIdLst>
    <p:sldMasterId r:id="rId1" id="2147483758"/>
    <p:sldMasterId r:id="rId2" id="2147483783"/>
  </p:sldMasterIdLst>
  <p:notesMasterIdLst>
    <p:notesMasterId r:id="rId38"/>
  </p:notesMasterIdLst>
  <p:handoutMasterIdLst>
    <p:handoutMasterId r:id="rId39"/>
  </p:handoutMasterIdLst>
  <p:sldIdLst>
    <p:sldId r:id="rId3" id="959"/>
    <p:sldId r:id="rId4" id="958"/>
    <p:sldId r:id="rId5" id="960"/>
    <p:sldId r:id="rId6" id="953"/>
    <p:sldId r:id="rId7" id="955"/>
    <p:sldId r:id="rId8" id="947"/>
    <p:sldId r:id="rId9" id="943"/>
    <p:sldId r:id="rId10" id="978"/>
    <p:sldId r:id="rId11" id="986"/>
    <p:sldId r:id="rId12" id="987"/>
    <p:sldId r:id="rId13" id="977"/>
    <p:sldId r:id="rId14" id="973"/>
    <p:sldId r:id="rId15" id="989"/>
    <p:sldId r:id="rId16" id="990"/>
    <p:sldId r:id="rId17" id="991"/>
    <p:sldId r:id="rId18" id="992"/>
    <p:sldId r:id="rId19" id="993"/>
    <p:sldId r:id="rId20" id="994"/>
    <p:sldId r:id="rId21" id="995"/>
    <p:sldId r:id="rId22" id="1012"/>
    <p:sldId r:id="rId23" id="997"/>
    <p:sldId r:id="rId24" id="998"/>
    <p:sldId r:id="rId25" id="999"/>
    <p:sldId r:id="rId26" id="1000"/>
    <p:sldId r:id="rId27" id="1001"/>
    <p:sldId r:id="rId28" id="1002"/>
    <p:sldId r:id="rId29" id="1003"/>
    <p:sldId r:id="rId30" id="1004"/>
    <p:sldId r:id="rId31" id="1005"/>
    <p:sldId r:id="rId32" id="1006"/>
    <p:sldId r:id="rId33" id="1007"/>
    <p:sldId r:id="rId34" id="1008"/>
    <p:sldId r:id="rId35" id="1009"/>
    <p:sldId r:id="rId36" id="1010"/>
    <p:sldId r:id="rId37" id="1011"/>
  </p:sldIdLst>
  <p:sldSz cx="12192000" cy="6858000"/>
  <p:notesSz cx="9939338" cy="6807200"/>
  <p:embeddedFontLst>
    <p:embeddedFont>
      <p:font typeface="WPS Special 1"/>
      <p:regular r:id="rId44"/>
    </p:embeddedFont>
  </p:embeddedFontLst>
  <p:defaultTextStyle>
    <a:defPPr>
      <a:defRPr lang="ru-RU"/>
    </a:defPPr>
    <a:lvl1pPr algn="l" marL="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1pPr>
    <a:lvl2pPr algn="l" marL="4572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2pPr>
    <a:lvl3pPr algn="l" marL="9144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3pPr>
    <a:lvl4pPr algn="l" marL="13716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4pPr>
    <a:lvl5pPr algn="l" marL="18288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5pPr>
    <a:lvl6pPr algn="l" marL="22860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6pPr>
    <a:lvl7pPr algn="l" marL="27432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7pPr>
    <a:lvl8pPr algn="l" marL="32004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8pPr>
    <a:lvl9pPr algn="l" marL="36576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8000"/>
    <a:srgbClr val="FFFFFF"/>
    <a:srgbClr val="FF8181"/>
    <a:srgbClr val="FFD9D9"/>
    <a:srgbClr val="FFFF99"/>
    <a:srgbClr val="993300"/>
    <a:srgbClr val="5A78AD"/>
    <a:srgbClr val="F2A16A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322" autoAdjust="0"/>
    <p:restoredTop sz="89049" autoAdjust="0"/>
  </p:normalViewPr>
  <p:slideViewPr>
    <p:cSldViewPr snapToGrid="0" showGuides="1">
      <p:cViewPr>
        <p:scale>
          <a:sx n="75" d="100"/>
          <a:sy n="75" d="100"/>
        </p:scale>
        <p:origin x="-1296" y="-29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 ?><Relationships xmlns="http://schemas.openxmlformats.org/package/2006/relationships"><Relationship Id="rId39" Type="http://schemas.openxmlformats.org/officeDocument/2006/relationships/handoutMaster" Target="handoutMasters/handoutMaster1.xml" /><Relationship Id="rId42" Type="http://schemas.openxmlformats.org/officeDocument/2006/relationships/theme" Target="theme/theme1.xml" /><Relationship Id="rId38" Type="http://schemas.openxmlformats.org/officeDocument/2006/relationships/notesMaster" Target="notesMasters/notesMaster1.xml" /><Relationship Id="rId2" Type="http://schemas.openxmlformats.org/officeDocument/2006/relationships/slideMaster" Target="slideMasters/slideMaster2.xml" /><Relationship Id="rId41" Type="http://schemas.openxmlformats.org/officeDocument/2006/relationships/viewProps" Target="viewProps.xml" /><Relationship Id="rId1" Type="http://schemas.openxmlformats.org/officeDocument/2006/relationships/slideMaster" Target="slideMasters/slideMaster1.xml" /><Relationship Id="rId40" Type="http://schemas.openxmlformats.org/officeDocument/2006/relationships/presProps" Target="presProps.xml" /><Relationship Id="rId43" Type="http://schemas.openxmlformats.org/officeDocument/2006/relationships/tableStyles" Target="tableStyles.xml" /><Relationship Id="rId12" Type="http://schemas.openxmlformats.org/officeDocument/2006/relationships/slide" Target="slides/slide10.xml" /><Relationship Id="rId28" Type="http://schemas.openxmlformats.org/officeDocument/2006/relationships/slide" Target="slides/slide26.xml" /><Relationship Id="rId16" Type="http://schemas.openxmlformats.org/officeDocument/2006/relationships/slide" Target="slides/slide14.xml" /><Relationship Id="rId20" Type="http://schemas.openxmlformats.org/officeDocument/2006/relationships/slide" Target="slides/slide18.xml" /><Relationship Id="rId15" Type="http://schemas.openxmlformats.org/officeDocument/2006/relationships/slide" Target="slides/slide13.xml" /><Relationship Id="rId11" Type="http://schemas.openxmlformats.org/officeDocument/2006/relationships/slide" Target="slides/slide9.xml" /><Relationship Id="rId14" Type="http://schemas.openxmlformats.org/officeDocument/2006/relationships/slide" Target="slides/slide12.xml" /><Relationship Id="rId25" Type="http://schemas.openxmlformats.org/officeDocument/2006/relationships/slide" Target="slides/slide23.xml" /><Relationship Id="rId7" Type="http://schemas.openxmlformats.org/officeDocument/2006/relationships/slide" Target="slides/slide5.xml" /><Relationship Id="rId27" Type="http://schemas.openxmlformats.org/officeDocument/2006/relationships/slide" Target="slides/slide25.xml" /><Relationship Id="rId29" Type="http://schemas.openxmlformats.org/officeDocument/2006/relationships/slide" Target="slides/slide27.xml" /><Relationship Id="rId35" Type="http://schemas.openxmlformats.org/officeDocument/2006/relationships/slide" Target="slides/slide33.xml" /><Relationship Id="rId13" Type="http://schemas.openxmlformats.org/officeDocument/2006/relationships/slide" Target="slides/slide11.xml" /><Relationship Id="rId8" Type="http://schemas.openxmlformats.org/officeDocument/2006/relationships/slide" Target="slides/slide6.xml" /><Relationship Id="rId34" Type="http://schemas.openxmlformats.org/officeDocument/2006/relationships/slide" Target="slides/slide32.xml" /><Relationship Id="rId4" Type="http://schemas.openxmlformats.org/officeDocument/2006/relationships/slide" Target="slides/slide2.xml" /><Relationship Id="rId9" Type="http://schemas.openxmlformats.org/officeDocument/2006/relationships/slide" Target="slides/slide7.xml" /><Relationship Id="rId31" Type="http://schemas.openxmlformats.org/officeDocument/2006/relationships/slide" Target="slides/slide29.xml" /><Relationship Id="rId22" Type="http://schemas.openxmlformats.org/officeDocument/2006/relationships/slide" Target="slides/slide20.xml" /><Relationship Id="rId33" Type="http://schemas.openxmlformats.org/officeDocument/2006/relationships/slide" Target="slides/slide31.xml" /><Relationship Id="rId30" Type="http://schemas.openxmlformats.org/officeDocument/2006/relationships/slide" Target="slides/slide28.xml" /><Relationship Id="rId18" Type="http://schemas.openxmlformats.org/officeDocument/2006/relationships/slide" Target="slides/slide16.xml" /><Relationship Id="rId5" Type="http://schemas.openxmlformats.org/officeDocument/2006/relationships/slide" Target="slides/slide3.xml" /><Relationship Id="rId26" Type="http://schemas.openxmlformats.org/officeDocument/2006/relationships/slide" Target="slides/slide24.xml" /><Relationship Id="rId24" Type="http://schemas.openxmlformats.org/officeDocument/2006/relationships/slide" Target="slides/slide22.xml" /><Relationship Id="rId36" Type="http://schemas.openxmlformats.org/officeDocument/2006/relationships/slide" Target="slides/slide34.xml" /><Relationship Id="rId23" Type="http://schemas.openxmlformats.org/officeDocument/2006/relationships/slide" Target="slides/slide21.xml" /><Relationship Id="rId21" Type="http://schemas.openxmlformats.org/officeDocument/2006/relationships/slide" Target="slides/slide19.xml" /><Relationship Id="rId10" Type="http://schemas.openxmlformats.org/officeDocument/2006/relationships/slide" Target="slides/slide8.xml" /><Relationship Id="rId32" Type="http://schemas.openxmlformats.org/officeDocument/2006/relationships/slide" Target="slides/slide30.xml" /><Relationship Id="rId19" Type="http://schemas.openxmlformats.org/officeDocument/2006/relationships/slide" Target="slides/slide17.xml" /><Relationship Id="rId17" Type="http://schemas.openxmlformats.org/officeDocument/2006/relationships/slide" Target="slides/slide15.xml" /><Relationship Id="rId3" Type="http://schemas.openxmlformats.org/officeDocument/2006/relationships/slide" Target="slides/slide1.xml" /><Relationship Id="rId6" Type="http://schemas.openxmlformats.org/officeDocument/2006/relationships/slide" Target="slides/slide4.xml" /><Relationship Id="rId37" Type="http://schemas.openxmlformats.org/officeDocument/2006/relationships/slide" Target="slides/slide35.xml" /><Relationship Id="rId44" Type="http://schemas.openxmlformats.org/officeDocument/2006/relationships/font" Target="fonts/WPS_Specail_1.fntdata" 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J:\YandexDisk\&#1044;&#1086;&#1082;&#1091;&#1084;&#1077;&#1085;&#1090;&#1099;\&#1055;&#1088;&#1077;&#1079;&#1077;&#1085;&#1090;&#1072;&#1094;&#1080;&#1080;\&#1080;&#1090;&#1086;&#1075;&#1080;%20&#1075;&#1086;&#1076;&#1072;%202017\&#1080;&#1090;&#1086;&#1075;&#1080;%20&#1075;&#1086;&#1076;&#1072;%202017%20&#1084;&#1072;&#1084;&#1072;&#1076;&#1099;&#1096;\&#1044;&#1080;&#1085;&#1072;&#1084;&#1080;&#1082;&#1072;%20&#1087;&#1083;&#1086;&#1076;&#1086;&#1088;&#1086;&#1076;&#1080;&#1103;%20&#1087;&#1086;&#1095;&#1074;%20&#1056;&#1077;&#1089;&#1087;&#1091;&#1073;&#1083;&#1080;&#1082;&#1080;%20&#1058;&#1072;&#1090;&#1072;&#1088;&#1089;&#1090;&#1072;&#1085;%20&#1087;&#1086;%202017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7.xlsx"/><Relationship Id="rId1" Type="http://schemas.openxmlformats.org/officeDocument/2006/relationships/themeOverride" Target="../theme/themeOverride5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J:\YandexDisk\&#1044;&#1086;&#1082;&#1091;&#1084;&#1077;&#1085;&#1090;&#1099;\&#1055;&#1088;&#1077;&#1079;&#1077;&#1085;&#1090;&#1072;&#1094;&#1080;&#1080;\&#1080;&#1090;&#1086;&#1075;&#1080;%20&#1075;&#1086;&#1076;&#1072;%202017\&#1080;&#1090;&#1086;&#1075;&#1080;%20&#1075;&#1086;&#1076;&#1072;%202017%20&#1084;&#1072;&#1084;&#1072;&#1076;&#1099;&#1096;\&#1044;&#1080;&#1085;&#1072;&#1084;&#1080;&#1082;&#1072;%20&#1087;&#1083;&#1086;&#1076;&#1086;&#1088;&#1086;&#1076;&#1080;&#1103;%20&#1087;&#1086;&#1095;&#1074;%20&#1056;&#1077;&#1089;&#1087;&#1091;&#1073;&#1083;&#1080;&#1082;&#1080;%20&#1058;&#1072;&#1090;&#1072;&#1088;&#1089;&#1090;&#1072;&#1085;%20&#1087;&#1086;%202017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J:\YandexDisk\&#1044;&#1086;&#1082;&#1091;&#1084;&#1077;&#1085;&#1090;&#1099;\&#1055;&#1088;&#1077;&#1079;&#1077;&#1085;&#1090;&#1072;&#1094;&#1080;&#1080;\&#1050;&#1086;&#1083;&#1083;&#1077;&#1075;&#1080;&#1103;%202018\&#1082;&#1086;&#1083;&#1083;&#1077;&#1075;&#1080;&#1103;%202018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1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Excel2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_____Microsoft_Excel3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_____Microsoft_Excel4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5.xlsx"/><Relationship Id="rId1" Type="http://schemas.openxmlformats.org/officeDocument/2006/relationships/themeOverride" Target="../theme/themeOverride3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6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Лист2!$A$26</c:f>
              <c:strCache>
                <c:ptCount val="1"/>
                <c:pt idx="0">
                  <c:v>Произвесткованная площадь, тыс.га</c:v>
                </c:pt>
              </c:strCache>
            </c:strRef>
          </c:tx>
          <c:spPr>
            <a:solidFill>
              <a:srgbClr val="70AD47">
                <a:lumMod val="75000"/>
              </a:srgb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>
                    <a:latin typeface="+mn-lt"/>
                    <a:cs typeface="Arial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2!$M$24:$S$24</c:f>
              <c:numCache>
                <c:formatCode>General</c:formatCode>
                <c:ptCount val="7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</c:numCache>
            </c:numRef>
          </c:cat>
          <c:val>
            <c:numRef>
              <c:f>Лист2!$M$26:$S$26</c:f>
              <c:numCache>
                <c:formatCode>General</c:formatCode>
                <c:ptCount val="7"/>
                <c:pt idx="0">
                  <c:v>78.5</c:v>
                </c:pt>
                <c:pt idx="1">
                  <c:v>73.900000000000006</c:v>
                </c:pt>
                <c:pt idx="2">
                  <c:v>70.400000000000006</c:v>
                </c:pt>
                <c:pt idx="3">
                  <c:v>65.3</c:v>
                </c:pt>
                <c:pt idx="4">
                  <c:v>75.599999999999994</c:v>
                </c:pt>
                <c:pt idx="5">
                  <c:v>72.599999999999994</c:v>
                </c:pt>
                <c:pt idx="6">
                  <c:v>57.225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BC2-4392-96E6-0660B1BC38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axId val="119552256"/>
        <c:axId val="119596160"/>
      </c:barChart>
      <c:catAx>
        <c:axId val="119552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800">
                <a:latin typeface="+mn-lt"/>
                <a:cs typeface="Arial" pitchFamily="34" charset="0"/>
              </a:defRPr>
            </a:pPr>
            <a:endParaRPr lang="ru-RU"/>
          </a:p>
        </c:txPr>
        <c:crossAx val="119596160"/>
        <c:crosses val="autoZero"/>
        <c:auto val="1"/>
        <c:lblAlgn val="ctr"/>
        <c:lblOffset val="0"/>
        <c:noMultiLvlLbl val="0"/>
      </c:catAx>
      <c:valAx>
        <c:axId val="1195961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9552256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0" b="1"/>
      </a:pPr>
      <a:endParaRPr lang="ru-RU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3855572674329382E-2"/>
          <c:y val="9.8256292664552103E-2"/>
          <c:w val="0.96008575812149666"/>
          <c:h val="0.71849165479385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70AD47">
                <a:lumMod val="75000"/>
              </a:srgb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913-426C-93BE-B39FC50A0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600" b="1">
                    <a:latin typeface="+mn-lt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0</c:formatCode>
                <c:ptCount val="2"/>
                <c:pt idx="0">
                  <c:v>100</c:v>
                </c:pt>
                <c:pt idx="1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4BE-4E5D-9A65-4A66F210B9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5360000"/>
        <c:axId val="125361536"/>
      </c:barChart>
      <c:catAx>
        <c:axId val="125360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20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25361536"/>
        <c:crosses val="autoZero"/>
        <c:auto val="1"/>
        <c:lblAlgn val="ctr"/>
        <c:lblOffset val="0"/>
        <c:noMultiLvlLbl val="0"/>
      </c:catAx>
      <c:valAx>
        <c:axId val="12536153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1253600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2!$A$25</c:f>
              <c:strCache>
                <c:ptCount val="1"/>
                <c:pt idx="0">
                  <c:v>Площадь кислых почв, тыс.га</c:v>
                </c:pt>
              </c:strCache>
            </c:strRef>
          </c:tx>
          <c:spPr>
            <a:ln w="63500">
              <a:solidFill>
                <a:srgbClr val="006600"/>
              </a:solidFill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15"/>
            <c:spPr>
              <a:solidFill>
                <a:srgbClr val="70AD47">
                  <a:lumMod val="20000"/>
                  <a:lumOff val="80000"/>
                </a:srgbClr>
              </a:solidFill>
              <a:ln w="47625">
                <a:solidFill>
                  <a:srgbClr val="00660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Pt>
            <c:idx val="2"/>
            <c:bubble3D val="0"/>
            <c:spPr>
              <a:ln w="63500">
                <a:solidFill>
                  <a:srgbClr val="006600"/>
                </a:solidFill>
                <a:tailEnd type="none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9C4-46C1-B516-064119C28FB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>
                    <a:latin typeface="+mn-lt"/>
                    <a:cs typeface="Arial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2!$M$24:$S$24</c:f>
              <c:numCache>
                <c:formatCode>General</c:formatCode>
                <c:ptCount val="7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</c:numCache>
            </c:numRef>
          </c:cat>
          <c:val>
            <c:numRef>
              <c:f>Лист2!$M$25:$S$25</c:f>
              <c:numCache>
                <c:formatCode>General</c:formatCode>
                <c:ptCount val="7"/>
                <c:pt idx="0">
                  <c:v>1437</c:v>
                </c:pt>
                <c:pt idx="1">
                  <c:v>1424.1</c:v>
                </c:pt>
                <c:pt idx="2">
                  <c:v>1360.6</c:v>
                </c:pt>
                <c:pt idx="3">
                  <c:v>1364.2</c:v>
                </c:pt>
                <c:pt idx="4">
                  <c:v>1364.2</c:v>
                </c:pt>
                <c:pt idx="5">
                  <c:v>1366.4</c:v>
                </c:pt>
                <c:pt idx="6">
                  <c:v>1398.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59C4-46C1-B516-064119C28F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1447424"/>
        <c:axId val="151448960"/>
      </c:lineChart>
      <c:catAx>
        <c:axId val="151447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800">
                <a:latin typeface="+mn-lt"/>
                <a:cs typeface="Arial" pitchFamily="34" charset="0"/>
              </a:defRPr>
            </a:pPr>
            <a:endParaRPr lang="ru-RU"/>
          </a:p>
        </c:txPr>
        <c:crossAx val="151448960"/>
        <c:crosses val="autoZero"/>
        <c:auto val="1"/>
        <c:lblAlgn val="ctr"/>
        <c:lblOffset val="0"/>
        <c:noMultiLvlLbl val="0"/>
      </c:catAx>
      <c:valAx>
        <c:axId val="151448960"/>
        <c:scaling>
          <c:orientation val="minMax"/>
          <c:max val="1600"/>
          <c:min val="1000"/>
        </c:scaling>
        <c:delete val="1"/>
        <c:axPos val="l"/>
        <c:numFmt formatCode="#,##0" sourceLinked="0"/>
        <c:majorTickMark val="out"/>
        <c:minorTickMark val="none"/>
        <c:tickLblPos val="nextTo"/>
        <c:crossAx val="151447424"/>
        <c:crosses val="autoZero"/>
        <c:crossBetween val="between"/>
      </c:valAx>
    </c:plotArea>
    <c:plotVisOnly val="1"/>
    <c:dispBlanksAs val="gap"/>
    <c:showDLblsOverMax val="0"/>
  </c:chart>
  <c:spPr>
    <a:noFill/>
  </c:spPr>
  <c:txPr>
    <a:bodyPr/>
    <a:lstStyle/>
    <a:p>
      <a:pPr>
        <a:defRPr sz="1600" b="1"/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558457332412419E-2"/>
          <c:y val="6.255332363719554E-2"/>
          <c:w val="0.26883125501533744"/>
          <c:h val="0.87315012769312439"/>
        </c:manualLayout>
      </c:layout>
      <c:pieChart>
        <c:varyColors val="1"/>
        <c:ser>
          <c:idx val="0"/>
          <c:order val="0"/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explosion val="3"/>
          <c:dPt>
            <c:idx val="0"/>
            <c:bubble3D val="0"/>
            <c:explosion val="32"/>
            <c:spPr>
              <a:solidFill>
                <a:srgbClr val="FF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3FE-4FF3-BAB0-5AACC135B229}"/>
              </c:ext>
            </c:extLst>
          </c:dPt>
          <c:dPt>
            <c:idx val="1"/>
            <c:bubble3D val="0"/>
            <c:explosion val="25"/>
            <c:spPr>
              <a:solidFill>
                <a:srgbClr val="FFCC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3FE-4FF3-BAB0-5AACC135B229}"/>
              </c:ext>
            </c:extLst>
          </c:dPt>
          <c:dPt>
            <c:idx val="2"/>
            <c:bubble3D val="0"/>
            <c:explosion val="15"/>
            <c:extLst xmlns:c16r2="http://schemas.microsoft.com/office/drawing/2015/06/chart">
              <c:ext xmlns:c16="http://schemas.microsoft.com/office/drawing/2014/chart" uri="{C3380CC4-5D6E-409C-BE32-E72D297353CC}">
                <c16:uniqueId val="{00000004-A3FE-4FF3-BAB0-5AACC135B229}"/>
              </c:ext>
            </c:extLst>
          </c:dPt>
          <c:dPt>
            <c:idx val="3"/>
            <c:bubble3D val="0"/>
            <c:explosion val="0"/>
            <c:spPr>
              <a:solidFill>
                <a:schemeClr val="accent5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A3FE-4FF3-BAB0-5AACC135B229}"/>
              </c:ext>
            </c:extLst>
          </c:dPt>
          <c:dPt>
            <c:idx val="4"/>
            <c:bubble3D val="0"/>
            <c:explosion val="0"/>
            <c:spPr>
              <a:solidFill>
                <a:schemeClr val="accent6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A3FE-4FF3-BAB0-5AACC135B229}"/>
              </c:ext>
            </c:extLst>
          </c:dPt>
          <c:cat>
            <c:strRef>
              <c:f>'баланс в динамике'!$L$147:$P$148</c:f>
              <c:strCache>
                <c:ptCount val="5"/>
                <c:pt idx="0">
                  <c:v>Сильнокислые</c:v>
                </c:pt>
                <c:pt idx="1">
                  <c:v>Среднекислые</c:v>
                </c:pt>
                <c:pt idx="2">
                  <c:v>Слабокислые</c:v>
                </c:pt>
                <c:pt idx="3">
                  <c:v>Близкие к нейтральной</c:v>
                </c:pt>
                <c:pt idx="4">
                  <c:v>Нейтральные</c:v>
                </c:pt>
              </c:strCache>
            </c:strRef>
          </c:cat>
          <c:val>
            <c:numRef>
              <c:f>'баланс в динамике'!$L$149:$P$149</c:f>
              <c:numCache>
                <c:formatCode>0.0</c:formatCode>
                <c:ptCount val="5"/>
                <c:pt idx="0">
                  <c:v>34.300000000000004</c:v>
                </c:pt>
                <c:pt idx="1">
                  <c:v>262.60000000000002</c:v>
                </c:pt>
                <c:pt idx="2">
                  <c:v>1101.1999999999998</c:v>
                </c:pt>
                <c:pt idx="3">
                  <c:v>769.8</c:v>
                </c:pt>
                <c:pt idx="4">
                  <c:v>993.9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3FE-4FF3-BAB0-5AACC135B2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40"/>
      </c:pieChart>
    </c:plotArea>
    <c:legend>
      <c:legendPos val="r"/>
      <c:layout>
        <c:manualLayout>
          <c:xMode val="edge"/>
          <c:yMode val="edge"/>
          <c:x val="0.60321117414290304"/>
          <c:y val="0.14117669439935066"/>
          <c:w val="0.38572293287970905"/>
          <c:h val="0.72894556615259731"/>
        </c:manualLayout>
      </c:layout>
      <c:overlay val="0"/>
      <c:txPr>
        <a:bodyPr/>
        <a:lstStyle/>
        <a:p>
          <a:pPr rtl="0">
            <a:defRPr sz="20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200" b="1"/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 w="19050">
              <a:noFill/>
            </a:ln>
            <a:effectLst/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01-2005</c:v>
                </c:pt>
                <c:pt idx="1">
                  <c:v>2006-2010</c:v>
                </c:pt>
                <c:pt idx="2">
                  <c:v>2011-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 прог.</c:v>
                </c:pt>
              </c:strCache>
            </c:strRef>
          </c:cat>
          <c:val>
            <c:numRef>
              <c:f>Лист1!$B$2:$B$9</c:f>
              <c:numCache>
                <c:formatCode>0.0</c:formatCode>
                <c:ptCount val="8"/>
                <c:pt idx="0">
                  <c:v>68</c:v>
                </c:pt>
                <c:pt idx="1">
                  <c:v>73.599999999999994</c:v>
                </c:pt>
                <c:pt idx="2">
                  <c:v>59</c:v>
                </c:pt>
                <c:pt idx="3">
                  <c:v>47</c:v>
                </c:pt>
                <c:pt idx="4">
                  <c:v>65.3</c:v>
                </c:pt>
                <c:pt idx="5">
                  <c:v>52</c:v>
                </c:pt>
                <c:pt idx="6">
                  <c:v>58.6</c:v>
                </c:pt>
                <c:pt idx="7">
                  <c:v>7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E91-4722-94C0-9F6A6BA827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9"/>
        <c:overlap val="13"/>
        <c:axId val="234687488"/>
        <c:axId val="234750720"/>
      </c:barChart>
      <c:catAx>
        <c:axId val="234687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34750720"/>
        <c:crosses val="autoZero"/>
        <c:auto val="1"/>
        <c:lblAlgn val="ctr"/>
        <c:lblOffset val="100"/>
        <c:noMultiLvlLbl val="0"/>
      </c:catAx>
      <c:valAx>
        <c:axId val="234750720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234687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B16-47EB-BED3-89B63BF23B5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B16-47EB-BED3-89B63BF23B5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4B16-47EB-BED3-89B63BF23B5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B16-47EB-BED3-89B63BF23B5A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B16-47EB-BED3-89B63BF23B5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рН 6,5</c:v>
                </c:pt>
                <c:pt idx="1">
                  <c:v>рН 6,0</c:v>
                </c:pt>
                <c:pt idx="2">
                  <c:v>рН 5,5</c:v>
                </c:pt>
                <c:pt idx="3">
                  <c:v>рН 5,0</c:v>
                </c:pt>
                <c:pt idx="4">
                  <c:v>рН 4,5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00</c:v>
                </c:pt>
                <c:pt idx="1">
                  <c:v>89</c:v>
                </c:pt>
                <c:pt idx="2">
                  <c:v>77</c:v>
                </c:pt>
                <c:pt idx="3">
                  <c:v>43</c:v>
                </c:pt>
                <c:pt idx="4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9BE-455A-89EC-91FDB1C515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249509760"/>
        <c:axId val="249599488"/>
      </c:barChart>
      <c:catAx>
        <c:axId val="249509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9599488"/>
        <c:crosses val="autoZero"/>
        <c:auto val="1"/>
        <c:lblAlgn val="ctr"/>
        <c:lblOffset val="100"/>
        <c:noMultiLvlLbl val="0"/>
      </c:catAx>
      <c:valAx>
        <c:axId val="2495994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4950976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B16-47EB-BED3-89B63BF23B5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B16-47EB-BED3-89B63BF23B5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4B16-47EB-BED3-89B63BF23B5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B16-47EB-BED3-89B63BF23B5A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B16-47EB-BED3-89B63BF23B5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рН 6,5</c:v>
                </c:pt>
                <c:pt idx="1">
                  <c:v>рН 6,0</c:v>
                </c:pt>
                <c:pt idx="2">
                  <c:v>рН 5,5</c:v>
                </c:pt>
                <c:pt idx="3">
                  <c:v>рН 5,0</c:v>
                </c:pt>
                <c:pt idx="4">
                  <c:v>рН 4,5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00</c:v>
                </c:pt>
                <c:pt idx="1">
                  <c:v>52</c:v>
                </c:pt>
                <c:pt idx="2">
                  <c:v>48</c:v>
                </c:pt>
                <c:pt idx="3">
                  <c:v>31</c:v>
                </c:pt>
                <c:pt idx="4">
                  <c:v>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9BE-455A-89EC-91FDB1C515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249707904"/>
        <c:axId val="249752960"/>
      </c:barChart>
      <c:catAx>
        <c:axId val="249707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9752960"/>
        <c:crosses val="autoZero"/>
        <c:auto val="1"/>
        <c:lblAlgn val="ctr"/>
        <c:lblOffset val="100"/>
        <c:noMultiLvlLbl val="0"/>
      </c:catAx>
      <c:valAx>
        <c:axId val="249752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4970790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B16-47EB-BED3-89B63BF23B5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B16-47EB-BED3-89B63BF23B5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4B16-47EB-BED3-89B63BF23B5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B16-47EB-BED3-89B63BF23B5A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B16-47EB-BED3-89B63BF23B5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рН 6,5</c:v>
                </c:pt>
                <c:pt idx="1">
                  <c:v>рН 6,0</c:v>
                </c:pt>
                <c:pt idx="2">
                  <c:v>рН 5,5</c:v>
                </c:pt>
                <c:pt idx="3">
                  <c:v>рН 5,0</c:v>
                </c:pt>
                <c:pt idx="4">
                  <c:v>рН 4,5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00</c:v>
                </c:pt>
                <c:pt idx="1">
                  <c:v>100</c:v>
                </c:pt>
                <c:pt idx="2">
                  <c:v>77</c:v>
                </c:pt>
                <c:pt idx="3">
                  <c:v>52</c:v>
                </c:pt>
                <c:pt idx="4">
                  <c:v>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9BE-455A-89EC-91FDB1C515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4356736"/>
        <c:axId val="4362624"/>
      </c:barChart>
      <c:catAx>
        <c:axId val="43567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362624"/>
        <c:crosses val="autoZero"/>
        <c:auto val="1"/>
        <c:lblAlgn val="ctr"/>
        <c:lblOffset val="100"/>
        <c:noMultiLvlLbl val="0"/>
      </c:catAx>
      <c:valAx>
        <c:axId val="43626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35673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3855572674329382E-2"/>
          <c:y val="9.8256292664552103E-2"/>
          <c:w val="0.96008575812149666"/>
          <c:h val="0.7156845867415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70AD47">
                <a:lumMod val="60000"/>
                <a:lumOff val="40000"/>
              </a:srgbClr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8.1388102344071272E-3"/>
                  <c:y val="-1.7216338563617286E-2"/>
                </c:manualLayout>
              </c:layout>
              <c:tx>
                <c:rich>
                  <a:bodyPr/>
                  <a:lstStyle/>
                  <a:p>
                    <a:r>
                      <a:rPr lang="en-US" sz="2600" dirty="0"/>
                      <a:t>95</a:t>
                    </a:r>
                    <a:endParaRPr lang="en-US" sz="28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4FC0-40BE-8FFE-C79D20BAE96B}"/>
                </c:ext>
              </c:extLst>
            </c:dLbl>
            <c:dLbl>
              <c:idx val="1"/>
              <c:layout>
                <c:manualLayout>
                  <c:x val="3.1180045307664804E-3"/>
                  <c:y val="-8.5100589709110278E-3"/>
                </c:manualLayout>
              </c:layout>
              <c:tx>
                <c:rich>
                  <a:bodyPr/>
                  <a:lstStyle/>
                  <a:p>
                    <a:r>
                      <a:rPr lang="en-US" sz="2600" dirty="0"/>
                      <a:t>30</a:t>
                    </a:r>
                    <a:endParaRPr lang="en-US" sz="28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4FC0-40BE-8FFE-C79D20BAE9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600" b="1">
                    <a:latin typeface="+mn-lt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0</c:formatCode>
                <c:ptCount val="2"/>
                <c:pt idx="0">
                  <c:v>95</c:v>
                </c:pt>
                <c:pt idx="1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4BE-4E5D-9A65-4A66F210B9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5848576"/>
        <c:axId val="125854464"/>
      </c:barChart>
      <c:catAx>
        <c:axId val="125848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20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25854464"/>
        <c:crosses val="autoZero"/>
        <c:auto val="1"/>
        <c:lblAlgn val="ctr"/>
        <c:lblOffset val="0"/>
        <c:noMultiLvlLbl val="0"/>
      </c:catAx>
      <c:valAx>
        <c:axId val="125854464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125848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3855572674329382E-2"/>
          <c:y val="9.8256292664552103E-2"/>
          <c:w val="0.96008575812149666"/>
          <c:h val="0.733217702440136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70AD47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3.9316390136229741E-3"/>
                  <c:y val="-3.50307459971088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3C8-4AAE-B2BC-F8B432EC24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600" b="1">
                    <a:latin typeface="+mn-lt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0</c:formatCode>
                <c:ptCount val="2"/>
                <c:pt idx="0">
                  <c:v>95</c:v>
                </c:pt>
                <c:pt idx="1">
                  <c:v>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4BE-4E5D-9A65-4A66F210B9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5545088"/>
        <c:axId val="125550976"/>
      </c:barChart>
      <c:catAx>
        <c:axId val="125545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20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25550976"/>
        <c:crosses val="autoZero"/>
        <c:auto val="1"/>
        <c:lblAlgn val="ctr"/>
        <c:lblOffset val="0"/>
        <c:noMultiLvlLbl val="0"/>
      </c:catAx>
      <c:valAx>
        <c:axId val="12555097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1255450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5836</cdr:x>
      <cdr:y>0.28474</cdr:y>
    </cdr:from>
    <cdr:to>
      <cdr:x>0.6268</cdr:x>
      <cdr:y>0.6117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846378" y="985757"/>
          <a:ext cx="2881222" cy="11320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2400" b="1" dirty="0" smtClean="0">
              <a:solidFill>
                <a:srgbClr val="C00000"/>
              </a:solidFill>
              <a:effectLst/>
            </a:rPr>
            <a:t>44%</a:t>
          </a:r>
        </a:p>
        <a:p xmlns:a="http://schemas.openxmlformats.org/drawingml/2006/main">
          <a:pPr algn="ctr"/>
          <a:r>
            <a:rPr lang="ru-RU" sz="2400" b="1" dirty="0" smtClean="0">
              <a:solidFill>
                <a:srgbClr val="C00000"/>
              </a:solidFill>
              <a:effectLst/>
            </a:rPr>
            <a:t>кислых почв</a:t>
          </a:r>
          <a:endParaRPr lang="ru-RU" sz="2400" b="1" dirty="0">
            <a:solidFill>
              <a:srgbClr val="C00000"/>
            </a:solidFill>
            <a:effectLst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3" y="8"/>
            <a:ext cx="4308054" cy="340251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8986" y="8"/>
            <a:ext cx="4308052" cy="340251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4C58D488-F5B3-405A-8E8E-120FA6DE6A52}" type="datetimeFigureOut">
              <a:rPr lang="ru-RU" smtClean="0"/>
              <a:pPr/>
              <a:t>22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3" y="6465873"/>
            <a:ext cx="4308054" cy="340251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8986" y="6465873"/>
            <a:ext cx="4308052" cy="340251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18D694FC-21DA-4FB5-8580-66EA71E99E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473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1" y="8"/>
            <a:ext cx="4308054" cy="340251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8986" y="8"/>
            <a:ext cx="4308052" cy="340251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BBFA6C56-2A64-4089-BAE3-4EA59C255D26}" type="datetimeFigureOut">
              <a:rPr lang="ru-RU" smtClean="0"/>
              <a:pPr/>
              <a:t>22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698750" y="511175"/>
            <a:ext cx="4541838" cy="25542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6" tIns="45637" rIns="91276" bIns="4563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4185" y="3232937"/>
            <a:ext cx="7951003" cy="3063350"/>
          </a:xfrm>
          <a:prstGeom prst="rect">
            <a:avLst/>
          </a:prstGeom>
        </p:spPr>
        <p:txBody>
          <a:bodyPr vert="horz" lIns="91276" tIns="45637" rIns="91276" bIns="4563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1" y="6465873"/>
            <a:ext cx="4308054" cy="340251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8986" y="6465873"/>
            <a:ext cx="4308052" cy="340251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692472F7-48B4-41CE-AC68-1E02AFB2335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009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74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4468" y="2729269"/>
            <a:ext cx="6714779" cy="482440"/>
          </a:xfrm>
          <a:prstGeom prst="rect">
            <a:avLst/>
          </a:prstGeom>
        </p:spPr>
        <p:txBody>
          <a:bodyPr lIns="91407" tIns="45705" rIns="91407" bIns="45705"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7226654" y="5223866"/>
            <a:ext cx="2384405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21471" y="379021"/>
            <a:ext cx="370357" cy="2858851"/>
          </a:xfrm>
          <a:prstGeom prst="rect">
            <a:avLst/>
          </a:prstGeom>
        </p:spPr>
        <p:txBody>
          <a:bodyPr vert="eaVert"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1994" y="379021"/>
            <a:ext cx="6652145" cy="2858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0" y="1718550"/>
            <a:ext cx="8442609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61985" y="6614570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61985" y="6376148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1986" y="511725"/>
            <a:ext cx="9222292" cy="277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3AF8D-3FDE-46A5-852E-6C0661EAA1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3339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C686A-82AE-4D37-A73D-BD8606A403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611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879BE-5C38-4839-A9AE-DFFA73C9C2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1877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A659BC-D9C3-49C5-9748-8AFA72425F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1167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6FEA2-06CB-4154-A894-1EC772999C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2783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DE324-4868-4088-A638-A4E23080D2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1634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5CEAF-D863-43C6-91E2-CEF9EE3785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C:\Users\user\Desktop\Презентация Э.А. Зарипова\Слайд1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20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3957" y="0"/>
            <a:ext cx="499114" cy="6858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467C1945-15D0-44C9-AD12-D71400502F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35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AB486-5958-4AFE-8E5C-4530DEC822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8165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55FAA-BBF2-4E5C-92FC-B5D667F1E72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807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FEFCE-E81F-4034-A5DF-C960AA9C54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5102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E59AB-4512-4C8A-9F99-54DA07A262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3802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497" y="4407514"/>
            <a:ext cx="10362660" cy="599395"/>
          </a:xfrm>
          <a:prstGeom prst="rect">
            <a:avLst/>
          </a:prstGeom>
        </p:spPr>
        <p:txBody>
          <a:bodyPr lIns="91407" tIns="45705" rIns="91407" bIns="45705"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497" y="2907443"/>
            <a:ext cx="10362660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8815" indent="0">
              <a:buNone/>
              <a:defRPr sz="1800"/>
            </a:lvl2pPr>
            <a:lvl3pPr marL="917709" indent="0">
              <a:buNone/>
              <a:defRPr sz="1600"/>
            </a:lvl3pPr>
            <a:lvl4pPr marL="1376577" indent="0">
              <a:buNone/>
              <a:defRPr sz="1400"/>
            </a:lvl4pPr>
            <a:lvl5pPr marL="1835437" indent="0">
              <a:buNone/>
              <a:defRPr sz="1400"/>
            </a:lvl5pPr>
            <a:lvl6pPr marL="2294299" indent="0">
              <a:buNone/>
              <a:defRPr sz="1400"/>
            </a:lvl6pPr>
            <a:lvl7pPr marL="2753159" indent="0">
              <a:buNone/>
              <a:defRPr sz="1400"/>
            </a:lvl7pPr>
            <a:lvl8pPr marL="3212019" indent="0">
              <a:buNone/>
              <a:defRPr sz="1400"/>
            </a:lvl8pPr>
            <a:lvl9pPr marL="367087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976262" y="1990667"/>
            <a:ext cx="282284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06407" y="1990667"/>
            <a:ext cx="2822843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3868"/>
            <a:ext cx="10973880" cy="283411"/>
          </a:xfrm>
          <a:prstGeom prst="rect">
            <a:avLst/>
          </a:prstGeom>
        </p:spPr>
        <p:txBody>
          <a:bodyPr lIns="91407" tIns="45705" rIns="91407" bIns="45705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091" y="1535541"/>
            <a:ext cx="538650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091" y="2175319"/>
            <a:ext cx="538650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271" y="1535541"/>
            <a:ext cx="538866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4271" y="2175319"/>
            <a:ext cx="538866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6799"/>
            <a:ext cx="4010725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673" y="273746"/>
            <a:ext cx="6816289" cy="5852139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060" y="1435100"/>
            <a:ext cx="4010725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8725" y="5069555"/>
            <a:ext cx="7315200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8725" y="612265"/>
            <a:ext cx="73152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58815" indent="0">
              <a:buNone/>
              <a:defRPr sz="2900"/>
            </a:lvl2pPr>
            <a:lvl3pPr marL="917709" indent="0">
              <a:buNone/>
              <a:defRPr sz="2400"/>
            </a:lvl3pPr>
            <a:lvl4pPr marL="1376577" indent="0">
              <a:buNone/>
              <a:defRPr sz="2000"/>
            </a:lvl4pPr>
            <a:lvl5pPr marL="1835437" indent="0">
              <a:buNone/>
              <a:defRPr sz="2000"/>
            </a:lvl5pPr>
            <a:lvl6pPr marL="2294299" indent="0">
              <a:buNone/>
              <a:defRPr sz="2000"/>
            </a:lvl6pPr>
            <a:lvl7pPr marL="2753159" indent="0">
              <a:buNone/>
              <a:defRPr sz="2000"/>
            </a:lvl7pPr>
            <a:lvl8pPr marL="3212019" indent="0">
              <a:buNone/>
              <a:defRPr sz="2000"/>
            </a:lvl8pPr>
            <a:lvl9pPr marL="3670879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8725" y="5367836"/>
            <a:ext cx="7315200" cy="805015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62219" y="3240"/>
            <a:ext cx="612347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792056"/>
            <a:ext cx="4973989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61985" y="6265172"/>
            <a:ext cx="11630453" cy="432472"/>
            <a:chOff x="75" y="3868"/>
            <a:chExt cx="5385" cy="26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8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0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783894" indent="-783894" defTabSz="898597" fontAlgn="base">
                <a:spcBef>
                  <a:spcPct val="0"/>
                </a:spcBef>
                <a:spcAft>
                  <a:spcPct val="0"/>
                </a:spcAft>
                <a:tabLst>
                  <a:tab pos="782296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976220" y="1158139"/>
            <a:ext cx="5801189" cy="510218"/>
            <a:chOff x="915" y="715"/>
            <a:chExt cx="2686" cy="315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45147" y="6598841"/>
            <a:ext cx="265655" cy="1554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109954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859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9306545" y="93946"/>
            <a:ext cx="2760208" cy="513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61986" y="701388"/>
            <a:ext cx="11965221" cy="43733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61986" y="6731662"/>
            <a:ext cx="11965221" cy="43735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58815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17709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7657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3543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4381" indent="-192790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8815" indent="-26289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6594" indent="-15614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8833" indent="-130649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7699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6554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25425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84280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815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770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57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543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429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5315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1201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7087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9B505-A7BD-4C0B-923A-0288E535CF21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0961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6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Relationship Id="rId6" Type="http://schemas.microsoft.com/office/2007/relationships/hdphoto" Target="../media/hdphoto3.wdp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6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9.xml"/><Relationship Id="rId6" Type="http://schemas.openxmlformats.org/officeDocument/2006/relationships/chart" Target="../charts/chart10.xml"/><Relationship Id="rId5" Type="http://schemas.openxmlformats.org/officeDocument/2006/relationships/image" Target="../media/image25.png"/><Relationship Id="rId4" Type="http://schemas.openxmlformats.org/officeDocument/2006/relationships/chart" Target="../charts/chart9.xml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9.xml"/><Relationship Id="rId6" Type="http://schemas.microsoft.com/office/2007/relationships/hdphoto" Target="../media/hdphoto7.wdp"/><Relationship Id="rId5" Type="http://schemas.openxmlformats.org/officeDocument/2006/relationships/image" Target="../media/image29.png"/><Relationship Id="rId10" Type="http://schemas.openxmlformats.org/officeDocument/2006/relationships/image" Target="../media/image32.jpeg"/><Relationship Id="rId4" Type="http://schemas.microsoft.com/office/2007/relationships/hdphoto" Target="../media/hdphoto6.wdp"/><Relationship Id="rId9" Type="http://schemas.openxmlformats.org/officeDocument/2006/relationships/image" Target="../media/image31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microsoft.com/office/2007/relationships/hdphoto" Target="../media/hdphoto9.wdp"/><Relationship Id="rId7" Type="http://schemas.microsoft.com/office/2007/relationships/hdphoto" Target="../media/hdphoto11.wdp"/><Relationship Id="rId12" Type="http://schemas.microsoft.com/office/2007/relationships/hdphoto" Target="../media/hdphoto13.wdp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5.jpeg"/><Relationship Id="rId11" Type="http://schemas.openxmlformats.org/officeDocument/2006/relationships/image" Target="../media/image38.jpeg"/><Relationship Id="rId5" Type="http://schemas.microsoft.com/office/2007/relationships/hdphoto" Target="../media/hdphoto10.wdp"/><Relationship Id="rId10" Type="http://schemas.openxmlformats.org/officeDocument/2006/relationships/image" Target="../media/image37.jpeg"/><Relationship Id="rId4" Type="http://schemas.openxmlformats.org/officeDocument/2006/relationships/image" Target="../media/image34.jpeg"/><Relationship Id="rId9" Type="http://schemas.microsoft.com/office/2007/relationships/hdphoto" Target="../media/hdphoto12.wdp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14.wdp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9.xml"/><Relationship Id="rId5" Type="http://schemas.microsoft.com/office/2007/relationships/hdphoto" Target="../media/hdphoto15.wdp"/><Relationship Id="rId4" Type="http://schemas.openxmlformats.org/officeDocument/2006/relationships/image" Target="../media/image4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3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49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50.jpeg"/><Relationship Id="rId7" Type="http://schemas.openxmlformats.org/officeDocument/2006/relationships/image" Target="../media/image53.jpeg"/><Relationship Id="rId2" Type="http://schemas.openxmlformats.org/officeDocument/2006/relationships/slideLayout" Target="../slideLayouts/slideLayout19.xml"/><Relationship Id="rId1" Type="http://schemas.openxmlformats.org/officeDocument/2006/relationships/themeOverride" Target="../theme/themeOverride6.xml"/><Relationship Id="rId6" Type="http://schemas.microsoft.com/office/2007/relationships/hdphoto" Target="../media/hdphoto16.wdp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69576" y="1303238"/>
            <a:ext cx="11322424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ОБЯЗАТЕЛЬСТВА МИНИСТЕРСТВА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ЕРЕД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РАВИТЕЛЬСТВОМ </a:t>
            </a:r>
            <a:endParaRPr lang="ru-RU" sz="2600" dirty="0" smtClean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РЕСПУБЛИКИ ТАТАРСТАН И МИНСЕЛЬХОЗОМ РОССИИ  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75103" y="2575316"/>
            <a:ext cx="8138390" cy="362663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10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Валовой сбор:</a:t>
            </a:r>
          </a:p>
          <a:p>
            <a:pPr marL="712788">
              <a:spcBef>
                <a:spcPts val="1000"/>
              </a:spcBef>
              <a:tabLst>
                <a:tab pos="5022850" algn="l"/>
              </a:tabLst>
            </a:pPr>
            <a:r>
              <a:rPr lang="ru-RU" sz="2800" b="1" dirty="0" smtClean="0">
                <a:cs typeface="Arial" pitchFamily="34" charset="0"/>
              </a:rPr>
              <a:t>зерна	- </a:t>
            </a:r>
            <a:r>
              <a:rPr lang="ru-RU" sz="3200" b="1" dirty="0" smtClean="0">
                <a:solidFill>
                  <a:srgbClr val="006600"/>
                </a:solidFill>
                <a:cs typeface="Arial" pitchFamily="34" charset="0"/>
              </a:rPr>
              <a:t>4,1</a:t>
            </a:r>
            <a:r>
              <a:rPr lang="ru-RU" sz="2800" b="1" dirty="0" smtClean="0">
                <a:cs typeface="Arial" pitchFamily="34" charset="0"/>
              </a:rPr>
              <a:t> </a:t>
            </a:r>
            <a:r>
              <a:rPr lang="ru-RU" sz="2800" b="1" dirty="0" err="1" smtClean="0">
                <a:cs typeface="Arial" pitchFamily="34" charset="0"/>
              </a:rPr>
              <a:t>млн.тн</a:t>
            </a:r>
            <a:endParaRPr lang="ru-RU" sz="2800" b="1" strike="sngStrike" dirty="0" smtClean="0">
              <a:cs typeface="Arial" panose="020B0604020202020204" pitchFamily="34" charset="0"/>
            </a:endParaRPr>
          </a:p>
          <a:p>
            <a:pPr marL="717550">
              <a:spcBef>
                <a:spcPts val="1000"/>
              </a:spcBef>
              <a:tabLst>
                <a:tab pos="5022850" algn="l"/>
              </a:tabLst>
            </a:pPr>
            <a:r>
              <a:rPr lang="ru-RU" sz="2800" b="1" dirty="0" smtClean="0">
                <a:cs typeface="Arial" pitchFamily="34" charset="0"/>
              </a:rPr>
              <a:t>масличных культур 	- </a:t>
            </a:r>
            <a:r>
              <a:rPr lang="ru-RU" sz="3200" b="1" dirty="0" smtClean="0">
                <a:solidFill>
                  <a:srgbClr val="006600"/>
                </a:solidFill>
                <a:cs typeface="Arial" pitchFamily="34" charset="0"/>
              </a:rPr>
              <a:t>286</a:t>
            </a:r>
            <a:r>
              <a:rPr lang="ru-RU" sz="2800" b="1" dirty="0" smtClean="0">
                <a:solidFill>
                  <a:srgbClr val="006600"/>
                </a:solidFill>
                <a:cs typeface="Arial" pitchFamily="34" charset="0"/>
              </a:rPr>
              <a:t> </a:t>
            </a:r>
            <a:r>
              <a:rPr lang="ru-RU" sz="2800" b="1" dirty="0" err="1" smtClean="0">
                <a:cs typeface="Arial" pitchFamily="34" charset="0"/>
              </a:rPr>
              <a:t>тыс.тн</a:t>
            </a:r>
            <a:endParaRPr lang="ru-RU" sz="2800" b="1" dirty="0" smtClean="0">
              <a:cs typeface="Arial" pitchFamily="34" charset="0"/>
            </a:endParaRPr>
          </a:p>
          <a:p>
            <a:pPr marL="717550">
              <a:spcBef>
                <a:spcPts val="1000"/>
              </a:spcBef>
              <a:tabLst>
                <a:tab pos="5022850" algn="l"/>
              </a:tabLst>
            </a:pPr>
            <a:r>
              <a:rPr lang="ru-RU" sz="2800" b="1" dirty="0" smtClean="0">
                <a:cs typeface="Arial" pitchFamily="34" charset="0"/>
              </a:rPr>
              <a:t>сахарной свеклы         	- </a:t>
            </a:r>
            <a:r>
              <a:rPr lang="ru-RU" sz="3200" b="1" dirty="0" smtClean="0">
                <a:solidFill>
                  <a:srgbClr val="006600"/>
                </a:solidFill>
                <a:cs typeface="Arial" pitchFamily="34" charset="0"/>
              </a:rPr>
              <a:t>1,8</a:t>
            </a:r>
            <a:r>
              <a:rPr lang="ru-RU" sz="2800" b="1" dirty="0" smtClean="0">
                <a:cs typeface="Arial" pitchFamily="34" charset="0"/>
              </a:rPr>
              <a:t> </a:t>
            </a:r>
            <a:r>
              <a:rPr lang="ru-RU" sz="2800" b="1" dirty="0" err="1" smtClean="0">
                <a:cs typeface="Arial" pitchFamily="34" charset="0"/>
              </a:rPr>
              <a:t>млн.тн</a:t>
            </a:r>
            <a:endParaRPr lang="ru-RU" sz="2800" b="1" strike="sngStrike" dirty="0" smtClean="0">
              <a:cs typeface="Arial" panose="020B0604020202020204" pitchFamily="34" charset="0"/>
            </a:endParaRPr>
          </a:p>
          <a:p>
            <a:pPr marL="717550">
              <a:spcBef>
                <a:spcPts val="1000"/>
              </a:spcBef>
              <a:tabLst>
                <a:tab pos="5022850" algn="l"/>
              </a:tabLst>
            </a:pPr>
            <a:r>
              <a:rPr lang="ru-RU" sz="2800" b="1" dirty="0" smtClean="0">
                <a:cs typeface="Arial" pitchFamily="34" charset="0"/>
              </a:rPr>
              <a:t>овощей и картофеля	- </a:t>
            </a:r>
            <a:r>
              <a:rPr lang="ru-RU" sz="3200" b="1" dirty="0" smtClean="0">
                <a:solidFill>
                  <a:srgbClr val="006600"/>
                </a:solidFill>
                <a:cs typeface="Arial" pitchFamily="34" charset="0"/>
              </a:rPr>
              <a:t>275</a:t>
            </a:r>
            <a:r>
              <a:rPr lang="ru-RU" sz="2800" b="1" dirty="0" smtClean="0">
                <a:cs typeface="Arial" pitchFamily="34" charset="0"/>
              </a:rPr>
              <a:t> </a:t>
            </a:r>
            <a:r>
              <a:rPr lang="ru-RU" sz="2800" b="1" dirty="0" err="1" smtClean="0">
                <a:cs typeface="Arial" pitchFamily="34" charset="0"/>
              </a:rPr>
              <a:t>тыс.тн</a:t>
            </a:r>
            <a:endParaRPr lang="ru-RU" sz="2800" b="1" dirty="0" smtClean="0">
              <a:cs typeface="Arial" pitchFamily="34" charset="0"/>
            </a:endParaRPr>
          </a:p>
          <a:p>
            <a:pPr marL="717550">
              <a:spcBef>
                <a:spcPts val="1000"/>
              </a:spcBef>
              <a:tabLst>
                <a:tab pos="5022850" algn="l"/>
              </a:tabLst>
            </a:pPr>
            <a:r>
              <a:rPr lang="ru-RU" sz="2800" b="1" dirty="0" smtClean="0">
                <a:cs typeface="Arial" pitchFamily="34" charset="0"/>
              </a:rPr>
              <a:t>кормов в физ. весе	</a:t>
            </a:r>
            <a:r>
              <a:rPr lang="ru-RU" sz="2800" b="1" dirty="0">
                <a:cs typeface="Arial" pitchFamily="34" charset="0"/>
              </a:rPr>
              <a:t>- </a:t>
            </a:r>
            <a:r>
              <a:rPr lang="ru-RU" sz="3200" b="1" dirty="0" smtClean="0">
                <a:solidFill>
                  <a:srgbClr val="006600"/>
                </a:solidFill>
                <a:cs typeface="Arial" pitchFamily="34" charset="0"/>
              </a:rPr>
              <a:t>8,8</a:t>
            </a:r>
            <a:r>
              <a:rPr lang="ru-RU" sz="2800" b="1" dirty="0" smtClean="0">
                <a:solidFill>
                  <a:srgbClr val="006600"/>
                </a:solidFill>
                <a:cs typeface="Arial" pitchFamily="34" charset="0"/>
              </a:rPr>
              <a:t> </a:t>
            </a:r>
            <a:r>
              <a:rPr lang="ru-RU" sz="2800" b="1" dirty="0" err="1" smtClean="0">
                <a:cs typeface="Arial" pitchFamily="34" charset="0"/>
              </a:rPr>
              <a:t>млн.тн</a:t>
            </a:r>
            <a:endParaRPr lang="ru-RU" sz="2800" b="1" strike="sngStrike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8927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50627" y="1271656"/>
            <a:ext cx="11407506" cy="49244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60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/>
              <a:t>ЭФФЕКТИВНОСТЬ </a:t>
            </a:r>
            <a:r>
              <a:rPr lang="en-US" dirty="0"/>
              <a:t>NPK</a:t>
            </a:r>
            <a:r>
              <a:rPr lang="ru-RU" dirty="0"/>
              <a:t> (</a:t>
            </a:r>
            <a:r>
              <a:rPr lang="en-US" dirty="0"/>
              <a:t>K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ru-RU" dirty="0"/>
              <a:t>)</a:t>
            </a:r>
            <a:r>
              <a:rPr lang="en-US" dirty="0"/>
              <a:t> </a:t>
            </a:r>
            <a:r>
              <a:rPr lang="ru-RU" dirty="0"/>
              <a:t>И </a:t>
            </a:r>
            <a:r>
              <a:rPr lang="en-US" dirty="0" smtClean="0"/>
              <a:t>pH </a:t>
            </a:r>
            <a:r>
              <a:rPr lang="ru-RU" dirty="0"/>
              <a:t>ПОЧВЫ, %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10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2343805529"/>
              </p:ext>
            </p:extLst>
          </p:nvPr>
        </p:nvGraphicFramePr>
        <p:xfrm>
          <a:off x="1972234" y="2061882"/>
          <a:ext cx="8919884" cy="439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03916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82130" y="1125275"/>
            <a:ext cx="1131018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РАЗВИТИЕ ПЕРВИЧНОЙ КОРНЕВОЙ СИСТЕМЫ ЯРОВОЙ ПШЕНИЦЫ </a:t>
            </a: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В ЗАВИСИМОСТИ ОТ рН ПОЧВЕННОГО РАСТВОРА (S. CARR)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9265" y="2052919"/>
            <a:ext cx="10903752" cy="4805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Группа 8"/>
          <p:cNvGrpSpPr/>
          <p:nvPr/>
        </p:nvGrpSpPr>
        <p:grpSpPr>
          <a:xfrm>
            <a:off x="1063715" y="2054385"/>
            <a:ext cx="9973259" cy="461665"/>
            <a:chOff x="482600" y="1313986"/>
            <a:chExt cx="7689850" cy="461665"/>
          </a:xfrm>
        </p:grpSpPr>
        <p:sp>
          <p:nvSpPr>
            <p:cNvPr id="10" name="TextBox 4"/>
            <p:cNvSpPr txBox="1">
              <a:spLocks noChangeArrowheads="1"/>
            </p:cNvSpPr>
            <p:nvPr/>
          </p:nvSpPr>
          <p:spPr bwMode="auto">
            <a:xfrm>
              <a:off x="482600" y="1313986"/>
              <a:ext cx="100806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рН = 4,5</a:t>
              </a:r>
              <a:endPara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1" name="TextBox 6"/>
            <p:cNvSpPr txBox="1">
              <a:spLocks noChangeArrowheads="1"/>
            </p:cNvSpPr>
            <p:nvPr/>
          </p:nvSpPr>
          <p:spPr bwMode="auto">
            <a:xfrm>
              <a:off x="7164388" y="1313986"/>
              <a:ext cx="1008062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рН = 6,5</a:t>
              </a:r>
              <a:endPara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2" name="Прямая со стрелкой 11"/>
            <p:cNvCxnSpPr>
              <a:stCxn id="10" idx="3"/>
            </p:cNvCxnSpPr>
            <p:nvPr/>
          </p:nvCxnSpPr>
          <p:spPr>
            <a:xfrm>
              <a:off x="1490663" y="1544819"/>
              <a:ext cx="5602287" cy="0"/>
            </a:xfrm>
            <a:prstGeom prst="straightConnector1">
              <a:avLst/>
            </a:prstGeom>
            <a:ln>
              <a:solidFill>
                <a:schemeClr val="bg1"/>
              </a:solidFill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3" name="Скругленный прямоугольник 12"/>
          <p:cNvSpPr/>
          <p:nvPr/>
        </p:nvSpPr>
        <p:spPr>
          <a:xfrm>
            <a:off x="11779077" y="6579296"/>
            <a:ext cx="413238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5047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5"/>
          <p:cNvSpPr/>
          <p:nvPr/>
        </p:nvSpPr>
        <p:spPr>
          <a:xfrm>
            <a:off x="11744893" y="6579296"/>
            <a:ext cx="413238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2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7250814"/>
              </p:ext>
            </p:extLst>
          </p:nvPr>
        </p:nvGraphicFramePr>
        <p:xfrm>
          <a:off x="1146069" y="1452280"/>
          <a:ext cx="5084405" cy="36038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3650">
                  <a:extLst>
                    <a:ext uri="{9D8B030D-6E8A-4147-A177-3AD203B41FA5}">
                      <a16:colId xmlns="" xmlns:a16="http://schemas.microsoft.com/office/drawing/2014/main" val="2060910467"/>
                    </a:ext>
                  </a:extLst>
                </a:gridCol>
                <a:gridCol w="1102657">
                  <a:extLst>
                    <a:ext uri="{9D8B030D-6E8A-4147-A177-3AD203B41FA5}">
                      <a16:colId xmlns="" xmlns:a16="http://schemas.microsoft.com/office/drawing/2014/main" val="357772592"/>
                    </a:ext>
                  </a:extLst>
                </a:gridCol>
                <a:gridCol w="200809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975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  <a:endParaRPr lang="ru-RU" sz="15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акоплено удобрений, </a:t>
                      </a:r>
                    </a:p>
                    <a:p>
                      <a:pPr algn="ctr" fontAlgn="b"/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г </a:t>
                      </a:r>
                      <a:r>
                        <a:rPr lang="ru-RU" sz="15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.в</a:t>
                      </a:r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./га</a:t>
                      </a:r>
                      <a:endParaRPr lang="ru-RU" sz="15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от кислых почв района (слабо-</a:t>
                      </a:r>
                      <a:r>
                        <a:rPr lang="ru-RU" sz="15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средне- и сильнокислые</a:t>
                      </a:r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)</a:t>
                      </a:r>
                      <a:endParaRPr lang="ru-RU" sz="1500" b="1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лькеевский</a:t>
                      </a:r>
                      <a:endParaRPr lang="ru-RU" sz="15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99022545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урлатский</a:t>
                      </a:r>
                      <a:endParaRPr lang="ru-RU" sz="15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54187596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ктанышский</a:t>
                      </a:r>
                      <a:endParaRPr lang="ru-RU" sz="15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53447347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ижнекамский</a:t>
                      </a: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807258781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абинский</a:t>
                      </a: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77698630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укаевский</a:t>
                      </a: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892922666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Чистопольский</a:t>
                      </a:r>
                      <a:endParaRPr lang="ru-RU" sz="15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70666156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ксубаевский</a:t>
                      </a:r>
                      <a:endParaRPr lang="ru-RU" sz="15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469500003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рожжановский</a:t>
                      </a:r>
                      <a:endParaRPr lang="ru-RU" sz="15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96699269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Елабужский</a:t>
                      </a:r>
                      <a:endParaRPr lang="ru-RU" sz="15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68489938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овошешминский</a:t>
                      </a:r>
                      <a:endParaRPr lang="ru-RU" sz="15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ензелинский</a:t>
                      </a:r>
                      <a:endParaRPr lang="ru-RU" sz="15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030283536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5111076"/>
              </p:ext>
            </p:extLst>
          </p:nvPr>
        </p:nvGraphicFramePr>
        <p:xfrm>
          <a:off x="6684260" y="1443310"/>
          <a:ext cx="5059509" cy="36038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5316">
                  <a:extLst>
                    <a:ext uri="{9D8B030D-6E8A-4147-A177-3AD203B41FA5}">
                      <a16:colId xmlns="" xmlns:a16="http://schemas.microsoft.com/office/drawing/2014/main" val="2179707382"/>
                    </a:ext>
                  </a:extLst>
                </a:gridCol>
                <a:gridCol w="1174686">
                  <a:extLst>
                    <a:ext uri="{9D8B030D-6E8A-4147-A177-3AD203B41FA5}">
                      <a16:colId xmlns="" xmlns:a16="http://schemas.microsoft.com/office/drawing/2014/main" val="4070815281"/>
                    </a:ext>
                  </a:extLst>
                </a:gridCol>
                <a:gridCol w="2079507">
                  <a:extLst>
                    <a:ext uri="{9D8B030D-6E8A-4147-A177-3AD203B41FA5}">
                      <a16:colId xmlns="" xmlns:a16="http://schemas.microsoft.com/office/drawing/2014/main" val="1992907705"/>
                    </a:ext>
                  </a:extLst>
                </a:gridCol>
              </a:tblGrid>
              <a:tr h="697513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  <a:endParaRPr lang="ru-RU" sz="15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акоплено удобрений, </a:t>
                      </a: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г </a:t>
                      </a:r>
                      <a:r>
                        <a:rPr lang="ru-RU" sz="15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.в</a:t>
                      </a:r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./га</a:t>
                      </a:r>
                      <a:endParaRPr lang="ru-RU" sz="15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от кислых почв 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а (слабо-,</a:t>
                      </a:r>
                      <a:r>
                        <a:rPr lang="ru-RU" sz="15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средне-, и сильнокислые</a:t>
                      </a:r>
                      <a:r>
                        <a:rPr lang="ru-RU" sz="15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лексеевский</a:t>
                      </a: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76024212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пасский</a:t>
                      </a: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армановский</a:t>
                      </a:r>
                      <a:endParaRPr lang="ru-RU" sz="15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56495819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рский</a:t>
                      </a: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838340260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Заинский</a:t>
                      </a:r>
                      <a:endParaRPr lang="ru-RU" sz="15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48365024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амадышский</a:t>
                      </a:r>
                      <a:endParaRPr lang="ru-RU" sz="15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34237337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услюмовский</a:t>
                      </a:r>
                      <a:endParaRPr lang="ru-RU" sz="15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08163308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.Слободский</a:t>
                      </a:r>
                      <a:endParaRPr lang="ru-RU" sz="15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874949179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енделеевский</a:t>
                      </a: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9048432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тнинский</a:t>
                      </a:r>
                      <a:endParaRPr lang="ru-RU" sz="15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айбицкий</a:t>
                      </a:r>
                      <a:endParaRPr lang="ru-RU" sz="15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2192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юлячинский</a:t>
                      </a:r>
                      <a:endParaRPr lang="ru-RU" sz="15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421480093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06825" y="972125"/>
            <a:ext cx="113851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КАКАЯ ЧАСТЬ ЗАКУПЛЕННЫХ УДОБРЕНИЙ НЕ РАБОТАЕТ? </a:t>
            </a:r>
            <a:endParaRPr lang="ru-RU" sz="24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06824" y="5151984"/>
            <a:ext cx="11385177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60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/>
              <a:t>ЭФФЕКТИВНОСТЬ </a:t>
            </a:r>
            <a:r>
              <a:rPr lang="en-US" sz="2400" dirty="0"/>
              <a:t>NPK </a:t>
            </a:r>
            <a:r>
              <a:rPr lang="ru-RU" sz="2400" dirty="0"/>
              <a:t>И </a:t>
            </a:r>
            <a:r>
              <a:rPr lang="en-US" sz="2400" dirty="0"/>
              <a:t>pH </a:t>
            </a:r>
            <a:r>
              <a:rPr lang="ru-RU" sz="2400" dirty="0"/>
              <a:t>ПОЧВЫ, %</a:t>
            </a:r>
            <a:endParaRPr lang="ru-RU" sz="2400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4969361"/>
              </p:ext>
            </p:extLst>
          </p:nvPr>
        </p:nvGraphicFramePr>
        <p:xfrm>
          <a:off x="1146068" y="5615290"/>
          <a:ext cx="10643651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290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929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9290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9290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929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7914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i="0" u="none" dirty="0" smtClean="0">
                          <a:solidFill>
                            <a:schemeClr val="tx1"/>
                          </a:solidFill>
                          <a:effectLst/>
                        </a:rPr>
                        <a:t>pH</a:t>
                      </a:r>
                      <a:endParaRPr lang="ru-RU" sz="16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i="0" u="none" dirty="0" smtClean="0">
                          <a:solidFill>
                            <a:schemeClr val="tx1"/>
                          </a:solidFill>
                          <a:effectLst/>
                        </a:rPr>
                        <a:t>4,5</a:t>
                      </a:r>
                      <a:endParaRPr lang="ru-RU" sz="16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i="0" u="none" dirty="0" smtClean="0">
                          <a:solidFill>
                            <a:schemeClr val="tx1"/>
                          </a:solidFill>
                          <a:effectLst/>
                        </a:rPr>
                        <a:t>5,0</a:t>
                      </a:r>
                      <a:endParaRPr lang="ru-RU" sz="16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i="0" u="none" dirty="0" smtClean="0">
                          <a:solidFill>
                            <a:schemeClr val="tx1"/>
                          </a:solidFill>
                          <a:effectLst/>
                        </a:rPr>
                        <a:t>5,5</a:t>
                      </a:r>
                      <a:endParaRPr lang="ru-RU" sz="16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i="0" u="none" dirty="0" smtClean="0">
                          <a:solidFill>
                            <a:schemeClr val="tx1"/>
                          </a:solidFill>
                          <a:effectLst/>
                        </a:rPr>
                        <a:t>6,0</a:t>
                      </a:r>
                      <a:endParaRPr lang="ru-RU" sz="16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i="0" u="none" dirty="0" smtClean="0">
                          <a:solidFill>
                            <a:schemeClr val="tx1"/>
                          </a:solidFill>
                          <a:effectLst/>
                        </a:rPr>
                        <a:t>6,5</a:t>
                      </a:r>
                      <a:endParaRPr lang="ru-RU" sz="16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 u="none" dirty="0" smtClean="0">
                          <a:effectLst/>
                        </a:rPr>
                        <a:t>N</a:t>
                      </a:r>
                      <a:endParaRPr lang="ru-RU" sz="1600" b="1" i="0" u="none" dirty="0"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FF0000"/>
                          </a:solidFill>
                          <a:effectLst/>
                        </a:rPr>
                        <a:t>30</a:t>
                      </a:r>
                      <a:endParaRPr lang="ru-RU" sz="1600" b="1" i="0" u="none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FF0000"/>
                          </a:solidFill>
                          <a:effectLst/>
                        </a:rPr>
                        <a:t>43</a:t>
                      </a:r>
                      <a:endParaRPr lang="ru-RU" sz="1600" b="1" i="0" u="none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993300"/>
                          </a:solidFill>
                          <a:effectLst/>
                        </a:rPr>
                        <a:t>77</a:t>
                      </a:r>
                      <a:endParaRPr lang="ru-RU" sz="1600" b="1" i="0" u="none" dirty="0">
                        <a:solidFill>
                          <a:srgbClr val="9933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006600"/>
                          </a:solidFill>
                          <a:effectLst/>
                        </a:rPr>
                        <a:t>89</a:t>
                      </a:r>
                      <a:endParaRPr lang="ru-RU" sz="1600" b="1" i="0" u="none" dirty="0">
                        <a:solidFill>
                          <a:srgbClr val="0066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006600"/>
                          </a:solidFill>
                          <a:effectLst/>
                        </a:rPr>
                        <a:t>100</a:t>
                      </a:r>
                      <a:endParaRPr lang="ru-RU" sz="1600" b="1" i="0" u="none" dirty="0">
                        <a:solidFill>
                          <a:srgbClr val="0066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 u="none" dirty="0" smtClean="0">
                          <a:effectLst/>
                        </a:rPr>
                        <a:t>P2O5</a:t>
                      </a:r>
                      <a:endParaRPr lang="ru-RU" sz="1600" b="1" i="0" u="none" dirty="0"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FF0000"/>
                          </a:solidFill>
                          <a:effectLst/>
                        </a:rPr>
                        <a:t>23</a:t>
                      </a:r>
                      <a:endParaRPr lang="ru-RU" sz="1600" b="1" i="0" u="none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FF0000"/>
                          </a:solidFill>
                          <a:effectLst/>
                        </a:rPr>
                        <a:t>31</a:t>
                      </a:r>
                      <a:endParaRPr lang="ru-RU" sz="1600" b="1" i="0" u="none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FF0000"/>
                          </a:solidFill>
                          <a:effectLst/>
                        </a:rPr>
                        <a:t>48</a:t>
                      </a:r>
                      <a:endParaRPr lang="ru-RU" sz="1600" b="1" i="0" u="none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993300"/>
                          </a:solidFill>
                          <a:effectLst/>
                        </a:rPr>
                        <a:t>52</a:t>
                      </a:r>
                      <a:endParaRPr lang="ru-RU" sz="1600" b="1" i="0" u="none" dirty="0">
                        <a:solidFill>
                          <a:srgbClr val="9933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006600"/>
                          </a:solidFill>
                          <a:effectLst/>
                        </a:rPr>
                        <a:t>100</a:t>
                      </a:r>
                      <a:endParaRPr lang="ru-RU" sz="1600" b="1" i="0" u="none" dirty="0">
                        <a:solidFill>
                          <a:srgbClr val="0066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 u="none" dirty="0" smtClean="0">
                          <a:effectLst/>
                        </a:rPr>
                        <a:t>K2O</a:t>
                      </a:r>
                      <a:endParaRPr lang="ru-RU" sz="1600" b="1" i="0" u="none" dirty="0"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FF0000"/>
                          </a:solidFill>
                          <a:effectLst/>
                        </a:rPr>
                        <a:t>33</a:t>
                      </a:r>
                      <a:endParaRPr lang="ru-RU" sz="1600" b="1" i="0" u="none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FF0000"/>
                          </a:solidFill>
                          <a:effectLst/>
                        </a:rPr>
                        <a:t>52</a:t>
                      </a:r>
                      <a:endParaRPr lang="ru-RU" sz="1600" b="1" i="0" u="none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993300"/>
                          </a:solidFill>
                          <a:effectLst/>
                        </a:rPr>
                        <a:t>77</a:t>
                      </a:r>
                      <a:endParaRPr lang="ru-RU" sz="1600" b="1" i="0" u="none" dirty="0">
                        <a:solidFill>
                          <a:srgbClr val="9933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006600"/>
                          </a:solidFill>
                          <a:effectLst/>
                        </a:rPr>
                        <a:t>100</a:t>
                      </a:r>
                      <a:endParaRPr lang="ru-RU" sz="1600" b="1" i="0" u="none" dirty="0">
                        <a:solidFill>
                          <a:srgbClr val="0066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dirty="0" smtClean="0">
                          <a:solidFill>
                            <a:srgbClr val="006600"/>
                          </a:solidFill>
                          <a:effectLst/>
                        </a:rPr>
                        <a:t>100</a:t>
                      </a:r>
                      <a:endParaRPr lang="ru-RU" sz="1600" b="1" i="0" u="none" dirty="0">
                        <a:solidFill>
                          <a:srgbClr val="0066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325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5"/>
          <p:cNvSpPr/>
          <p:nvPr/>
        </p:nvSpPr>
        <p:spPr>
          <a:xfrm>
            <a:off x="11744893" y="6579296"/>
            <a:ext cx="413238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3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8400649"/>
              </p:ext>
            </p:extLst>
          </p:nvPr>
        </p:nvGraphicFramePr>
        <p:xfrm>
          <a:off x="6687672" y="1831069"/>
          <a:ext cx="5208494" cy="43086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3546">
                  <a:extLst>
                    <a:ext uri="{9D8B030D-6E8A-4147-A177-3AD203B41FA5}">
                      <a16:colId xmlns:a16="http://schemas.microsoft.com/office/drawing/2014/main" xmlns="" val="2179707382"/>
                    </a:ext>
                  </a:extLst>
                </a:gridCol>
                <a:gridCol w="1186525">
                  <a:extLst>
                    <a:ext uri="{9D8B030D-6E8A-4147-A177-3AD203B41FA5}">
                      <a16:colId xmlns:a16="http://schemas.microsoft.com/office/drawing/2014/main" xmlns="" val="4070815281"/>
                    </a:ext>
                  </a:extLst>
                </a:gridCol>
                <a:gridCol w="2178423">
                  <a:extLst>
                    <a:ext uri="{9D8B030D-6E8A-4147-A177-3AD203B41FA5}">
                      <a16:colId xmlns:a16="http://schemas.microsoft.com/office/drawing/2014/main" xmlns="" val="1992907705"/>
                    </a:ext>
                  </a:extLst>
                </a:gridCol>
              </a:tblGrid>
              <a:tr h="907085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  <a:endParaRPr lang="ru-RU" sz="16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акоплено удобрений, </a:t>
                      </a: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г </a:t>
                      </a:r>
                      <a:r>
                        <a:rPr lang="ru-RU" sz="16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.в</a:t>
                      </a: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./га</a:t>
                      </a:r>
                      <a:endParaRPr lang="ru-RU" sz="16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от кислых почв района (слабо-</a:t>
                      </a:r>
                      <a:r>
                        <a:rPr lang="ru-RU" sz="16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средне- и сильнокислые</a:t>
                      </a: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Высокогор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39488124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авлин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29792561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алтасин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7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38073427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Лениногор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18415715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угульмин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67497476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льметьев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86151662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Зеленодоль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06153870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Ютазин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29793366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знакаев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7365935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33719" y="1151425"/>
            <a:ext cx="1135828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КАКАЯ ЧАСТЬ ЗАКУПЛЕННЫХ УДОБРЕНИЙ НЕ РАБОТАЕТ? 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9278599"/>
              </p:ext>
            </p:extLst>
          </p:nvPr>
        </p:nvGraphicFramePr>
        <p:xfrm>
          <a:off x="1053580" y="1821772"/>
          <a:ext cx="5320325" cy="46866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6490">
                  <a:extLst>
                    <a:ext uri="{9D8B030D-6E8A-4147-A177-3AD203B41FA5}">
                      <a16:colId xmlns:a16="http://schemas.microsoft.com/office/drawing/2014/main" xmlns="" val="2179707382"/>
                    </a:ext>
                  </a:extLst>
                </a:gridCol>
                <a:gridCol w="1147482">
                  <a:extLst>
                    <a:ext uri="{9D8B030D-6E8A-4147-A177-3AD203B41FA5}">
                      <a16:colId xmlns:a16="http://schemas.microsoft.com/office/drawing/2014/main" xmlns="" val="4070815281"/>
                    </a:ext>
                  </a:extLst>
                </a:gridCol>
                <a:gridCol w="2196353">
                  <a:extLst>
                    <a:ext uri="{9D8B030D-6E8A-4147-A177-3AD203B41FA5}">
                      <a16:colId xmlns:a16="http://schemas.microsoft.com/office/drawing/2014/main" xmlns="" val="1992907705"/>
                    </a:ext>
                  </a:extLst>
                </a:gridCol>
              </a:tblGrid>
              <a:tr h="907085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  <a:endParaRPr lang="ru-RU" sz="16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акоплено удобрений, </a:t>
                      </a: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г </a:t>
                      </a:r>
                      <a:r>
                        <a:rPr lang="ru-RU" sz="16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.в</a:t>
                      </a: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./га</a:t>
                      </a:r>
                      <a:endParaRPr lang="ru-RU" sz="16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от кислых почв района (слабо-</a:t>
                      </a:r>
                      <a:r>
                        <a:rPr lang="ru-RU" sz="16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средне- и сильнокислые</a:t>
                      </a:r>
                      <a:r>
                        <a:rPr lang="ru-RU" sz="16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етюш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8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56495819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Черемшан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38340260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пастов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48365024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уин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34237337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Верхнеуслон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08163308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укмор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74949179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грыз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9048432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.Устьин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Лаишев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7795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естречинский</a:t>
                      </a:r>
                      <a:endParaRPr lang="ru-RU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214800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03746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0078006"/>
              </p:ext>
            </p:extLst>
          </p:nvPr>
        </p:nvGraphicFramePr>
        <p:xfrm>
          <a:off x="3888558" y="2224820"/>
          <a:ext cx="7976031" cy="4261793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0035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944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944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9449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9449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9449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39394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200" b="1" dirty="0">
                          <a:effectLst/>
                          <a:latin typeface="+mn-lt"/>
                          <a:cs typeface="Arial" pitchFamily="34" charset="0"/>
                        </a:rPr>
                        <a:t>Показатель</a:t>
                      </a:r>
                      <a:endParaRPr lang="ru-RU" sz="22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96000" marR="8014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200" b="1" dirty="0" smtClean="0">
                          <a:effectLst/>
                          <a:latin typeface="+mn-lt"/>
                          <a:cs typeface="Arial" pitchFamily="34" charset="0"/>
                        </a:rPr>
                        <a:t>2020</a:t>
                      </a:r>
                      <a:endParaRPr lang="ru-RU" sz="22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200" b="1" dirty="0" smtClean="0">
                          <a:effectLst/>
                          <a:latin typeface="+mn-lt"/>
                          <a:cs typeface="Arial" pitchFamily="34" charset="0"/>
                        </a:rPr>
                        <a:t>2021</a:t>
                      </a:r>
                      <a:endParaRPr lang="ru-RU" sz="22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200" b="1" dirty="0" smtClean="0">
                          <a:effectLst/>
                          <a:latin typeface="+mn-lt"/>
                          <a:cs typeface="Arial" pitchFamily="34" charset="0"/>
                        </a:rPr>
                        <a:t>2022</a:t>
                      </a:r>
                      <a:endParaRPr lang="ru-RU" sz="22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200" b="1" dirty="0" smtClean="0">
                          <a:effectLst/>
                          <a:latin typeface="+mn-lt"/>
                          <a:cs typeface="Arial" pitchFamily="34" charset="0"/>
                        </a:rPr>
                        <a:t>2023</a:t>
                      </a:r>
                      <a:endParaRPr lang="ru-RU" sz="22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200" b="1" dirty="0" smtClean="0">
                          <a:effectLst/>
                          <a:latin typeface="+mn-lt"/>
                          <a:cs typeface="Arial" pitchFamily="34" charset="0"/>
                        </a:rPr>
                        <a:t>2024 </a:t>
                      </a:r>
                      <a:endParaRPr lang="ru-RU" sz="22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1904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>
                          <a:effectLst/>
                          <a:latin typeface="+mn-lt"/>
                          <a:cs typeface="Arial" pitchFamily="34" charset="0"/>
                        </a:rPr>
                        <a:t>Площадь пашни, на которой </a:t>
                      </a:r>
                      <a:r>
                        <a:rPr lang="ru-RU" sz="2400" b="1" u="sng" dirty="0" smtClean="0">
                          <a:effectLst/>
                          <a:latin typeface="+mn-lt"/>
                          <a:cs typeface="Arial" pitchFamily="34" charset="0"/>
                        </a:rPr>
                        <a:t>планируется реализовать</a:t>
                      </a:r>
                      <a:r>
                        <a:rPr lang="ru-RU" sz="2400" b="1" u="none" dirty="0" smtClean="0">
                          <a:effectLst/>
                          <a:latin typeface="+mn-lt"/>
                          <a:cs typeface="Arial" pitchFamily="34" charset="0"/>
                        </a:rPr>
                        <a:t> эти </a:t>
                      </a:r>
                      <a:r>
                        <a:rPr lang="ru-RU" sz="2400" b="1" dirty="0" smtClean="0">
                          <a:effectLst/>
                          <a:latin typeface="+mn-lt"/>
                          <a:cs typeface="Arial" pitchFamily="34" charset="0"/>
                        </a:rPr>
                        <a:t>мероприятия, </a:t>
                      </a:r>
                      <a:r>
                        <a:rPr lang="ru-RU" sz="2400" b="1" dirty="0" err="1" smtClean="0">
                          <a:effectLst/>
                          <a:latin typeface="+mn-lt"/>
                          <a:cs typeface="Arial" pitchFamily="34" charset="0"/>
                        </a:rPr>
                        <a:t>тыс.га</a:t>
                      </a:r>
                      <a:endParaRPr lang="ru-RU" sz="24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9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0</a:t>
                      </a:r>
                      <a:endParaRPr lang="ru-RU" sz="2500" b="1" dirty="0">
                        <a:solidFill>
                          <a:srgbClr val="0070C0"/>
                        </a:solidFill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5</a:t>
                      </a:r>
                      <a:endParaRPr lang="ru-RU" sz="2500" b="1" dirty="0">
                        <a:solidFill>
                          <a:srgbClr val="0070C0"/>
                        </a:solidFill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90</a:t>
                      </a:r>
                      <a:endParaRPr lang="ru-RU" sz="2500" b="1" dirty="0">
                        <a:solidFill>
                          <a:srgbClr val="0070C0"/>
                        </a:solidFill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95</a:t>
                      </a:r>
                      <a:endParaRPr lang="ru-RU" sz="2500" b="1" dirty="0">
                        <a:solidFill>
                          <a:srgbClr val="0070C0"/>
                        </a:solidFill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0</a:t>
                      </a:r>
                      <a:endParaRPr lang="ru-RU" sz="2500" b="1" dirty="0">
                        <a:solidFill>
                          <a:srgbClr val="0070C0"/>
                        </a:solidFill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8928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>
                          <a:effectLst/>
                          <a:latin typeface="+mn-lt"/>
                          <a:cs typeface="Arial" pitchFamily="34" charset="0"/>
                        </a:rPr>
                        <a:t>Прогнозируемый объем </a:t>
                      </a:r>
                      <a:r>
                        <a:rPr lang="ru-RU" sz="2400" b="1" dirty="0" smtClean="0">
                          <a:effectLst/>
                          <a:latin typeface="+mn-lt"/>
                          <a:cs typeface="Arial" pitchFamily="34" charset="0"/>
                        </a:rPr>
                        <a:t>инвестиций, млн </a:t>
                      </a:r>
                      <a:r>
                        <a:rPr lang="ru-RU" sz="2400" b="1" strike="sng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</a:t>
                      </a:r>
                      <a:endParaRPr lang="ru-RU" sz="2400" b="1" strike="sng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 smtClean="0">
                          <a:effectLst/>
                          <a:latin typeface="+mn-lt"/>
                          <a:cs typeface="Arial" pitchFamily="34" charset="0"/>
                        </a:rPr>
                        <a:t>512,1</a:t>
                      </a:r>
                      <a:endParaRPr lang="ru-RU" sz="25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 smtClean="0">
                          <a:effectLst/>
                          <a:latin typeface="+mn-lt"/>
                          <a:cs typeface="Arial" pitchFamily="34" charset="0"/>
                        </a:rPr>
                        <a:t>571,3</a:t>
                      </a:r>
                      <a:endParaRPr lang="ru-RU" sz="25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 smtClean="0">
                          <a:effectLst/>
                          <a:latin typeface="+mn-lt"/>
                          <a:cs typeface="Arial" pitchFamily="34" charset="0"/>
                        </a:rPr>
                        <a:t>635,2</a:t>
                      </a:r>
                      <a:endParaRPr lang="ru-RU" sz="25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 smtClean="0">
                          <a:effectLst/>
                          <a:latin typeface="+mn-lt"/>
                          <a:cs typeface="Arial" pitchFamily="34" charset="0"/>
                        </a:rPr>
                        <a:t>704,0</a:t>
                      </a:r>
                      <a:endParaRPr lang="ru-RU" sz="25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 smtClean="0">
                          <a:effectLst/>
                          <a:latin typeface="+mn-lt"/>
                          <a:cs typeface="Arial" pitchFamily="34" charset="0"/>
                        </a:rPr>
                        <a:t>778,1</a:t>
                      </a:r>
                      <a:endParaRPr lang="ru-RU" sz="25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5952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>
                          <a:effectLst/>
                          <a:latin typeface="+mn-lt"/>
                          <a:cs typeface="Arial" pitchFamily="34" charset="0"/>
                        </a:rPr>
                        <a:t>Средние затраты </a:t>
                      </a:r>
                      <a:r>
                        <a:rPr lang="ru-RU" sz="2400" b="1" dirty="0" smtClean="0">
                          <a:effectLst/>
                          <a:latin typeface="+mn-lt"/>
                          <a:cs typeface="Arial" pitchFamily="34" charset="0"/>
                        </a:rPr>
                        <a:t/>
                      </a:r>
                      <a:br>
                        <a:rPr lang="ru-RU" sz="2400" b="1" dirty="0" smtClean="0">
                          <a:effectLst/>
                          <a:latin typeface="+mn-lt"/>
                          <a:cs typeface="Arial" pitchFamily="34" charset="0"/>
                        </a:rPr>
                      </a:br>
                      <a:r>
                        <a:rPr lang="ru-RU" sz="2400" b="1" dirty="0" smtClean="0">
                          <a:effectLst/>
                          <a:latin typeface="+mn-lt"/>
                          <a:cs typeface="Arial" pitchFamily="34" charset="0"/>
                        </a:rPr>
                        <a:t>на </a:t>
                      </a:r>
                      <a:r>
                        <a:rPr lang="ru-RU" sz="2400" b="1" dirty="0">
                          <a:effectLst/>
                          <a:latin typeface="+mn-lt"/>
                          <a:cs typeface="Arial" pitchFamily="34" charset="0"/>
                        </a:rPr>
                        <a:t>1 га, тыс. </a:t>
                      </a:r>
                      <a:r>
                        <a:rPr lang="ru-RU" sz="2400" b="1" strike="sng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</a:t>
                      </a:r>
                      <a:r>
                        <a:rPr lang="ru-RU" sz="2400" b="1" dirty="0" smtClean="0"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endParaRPr lang="ru-RU" sz="2400" b="1" dirty="0"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9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,4</a:t>
                      </a:r>
                      <a:endParaRPr lang="ru-RU" sz="2500" b="1" dirty="0">
                        <a:solidFill>
                          <a:srgbClr val="0070C0"/>
                        </a:solidFill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,7</a:t>
                      </a:r>
                      <a:endParaRPr lang="ru-RU" sz="2500" b="1" dirty="0">
                        <a:solidFill>
                          <a:srgbClr val="0070C0"/>
                        </a:solidFill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,1</a:t>
                      </a:r>
                      <a:endParaRPr lang="ru-RU" sz="2500" b="1" dirty="0">
                        <a:solidFill>
                          <a:srgbClr val="0070C0"/>
                        </a:solidFill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,4</a:t>
                      </a:r>
                      <a:endParaRPr lang="ru-RU" sz="2500" b="1" dirty="0">
                        <a:solidFill>
                          <a:srgbClr val="0070C0"/>
                        </a:solidFill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500" b="1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,8</a:t>
                      </a:r>
                      <a:endParaRPr lang="ru-RU" sz="2500" b="1" dirty="0">
                        <a:solidFill>
                          <a:srgbClr val="0070C0"/>
                        </a:solidFill>
                        <a:effectLst/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5" name="Picture 2" descr="J:\YandexDisk\Документы\Справочник агрохимика\известкование\DSC_0658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5498" y="2211056"/>
            <a:ext cx="2753025" cy="208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J:\YandexDisk\Документы\для сайта\татагрохим\P_20170907_142721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5498" y="4438059"/>
            <a:ext cx="2753025" cy="2062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Скругленный прямоугольник 7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14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77922" y="1132458"/>
            <a:ext cx="1140959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ЛАН ПРОВЕДЕНИЯ ИЗВЕСТКОВАНИЯ КИСЛЫХ ПОЧВ </a:t>
            </a:r>
          </a:p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НА 2020-2024 ГОДЫ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7164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J:\YandexDisk\Документы\Справочник агрохимика\известкование\DSC_0658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678"/>
          <a:stretch/>
        </p:blipFill>
        <p:spPr bwMode="auto">
          <a:xfrm>
            <a:off x="1198299" y="1392071"/>
            <a:ext cx="4852878" cy="2597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167749" y="1298894"/>
            <a:ext cx="5793154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indent="358775" algn="just">
              <a:spcAft>
                <a:spcPts val="1200"/>
              </a:spcAft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indent="0" algn="ctr"/>
            <a:r>
              <a:rPr lang="ru-RU" dirty="0" smtClean="0">
                <a:latin typeface="+mn-lt"/>
              </a:rPr>
              <a:t> Из </a:t>
            </a:r>
            <a:r>
              <a:rPr lang="ru-RU" sz="2400" dirty="0" smtClean="0">
                <a:solidFill>
                  <a:srgbClr val="FF0000"/>
                </a:solidFill>
                <a:latin typeface="+mn-lt"/>
              </a:rPr>
              <a:t>35</a:t>
            </a:r>
            <a:r>
              <a:rPr lang="ru-RU" dirty="0" smtClean="0">
                <a:latin typeface="+mn-lt"/>
              </a:rPr>
              <a:t> зарегистрированных карьеров </a:t>
            </a:r>
            <a:br>
              <a:rPr lang="ru-RU" dirty="0" smtClean="0">
                <a:latin typeface="+mn-lt"/>
              </a:rPr>
            </a:br>
            <a:r>
              <a:rPr lang="ru-RU" dirty="0" smtClean="0">
                <a:latin typeface="+mn-lt"/>
              </a:rPr>
              <a:t>в РФ </a:t>
            </a:r>
            <a:r>
              <a:rPr lang="ru-RU" sz="2400" dirty="0">
                <a:solidFill>
                  <a:srgbClr val="FF0000"/>
                </a:solidFill>
                <a:latin typeface="+mn-lt"/>
              </a:rPr>
              <a:t>23</a:t>
            </a:r>
            <a:r>
              <a:rPr lang="ru-RU" dirty="0">
                <a:latin typeface="+mn-lt"/>
              </a:rPr>
              <a:t> действующих </a:t>
            </a:r>
            <a:r>
              <a:rPr lang="ru-RU" dirty="0" smtClean="0">
                <a:latin typeface="+mn-lt"/>
              </a:rPr>
              <a:t>карьера </a:t>
            </a:r>
            <a:br>
              <a:rPr lang="ru-RU" dirty="0" smtClean="0">
                <a:latin typeface="+mn-lt"/>
              </a:rPr>
            </a:br>
            <a:r>
              <a:rPr lang="ru-RU" dirty="0" smtClean="0">
                <a:latin typeface="+mn-lt"/>
              </a:rPr>
              <a:t>по </a:t>
            </a:r>
            <a:r>
              <a:rPr lang="ru-RU" dirty="0">
                <a:latin typeface="+mn-lt"/>
              </a:rPr>
              <a:t>производству известкового </a:t>
            </a:r>
            <a:r>
              <a:rPr lang="ru-RU" dirty="0" smtClean="0">
                <a:latin typeface="+mn-lt"/>
              </a:rPr>
              <a:t>материала </a:t>
            </a:r>
            <a:r>
              <a:rPr lang="ru-RU" dirty="0" smtClean="0">
                <a:latin typeface="+mn-lt"/>
              </a:rPr>
              <a:t/>
            </a:r>
            <a:br>
              <a:rPr lang="ru-RU" dirty="0" smtClean="0">
                <a:latin typeface="+mn-lt"/>
              </a:rPr>
            </a:br>
            <a:r>
              <a:rPr lang="ru-RU" dirty="0" smtClean="0">
                <a:latin typeface="+mn-lt"/>
              </a:rPr>
              <a:t>в </a:t>
            </a:r>
            <a:r>
              <a:rPr lang="ru-RU" dirty="0" smtClean="0">
                <a:latin typeface="+mn-lt"/>
              </a:rPr>
              <a:t>Татарстане.</a:t>
            </a:r>
          </a:p>
          <a:p>
            <a:pPr indent="0" algn="ctr"/>
            <a:r>
              <a:rPr lang="ru-RU" i="1" dirty="0">
                <a:solidFill>
                  <a:srgbClr val="0070C0"/>
                </a:solidFill>
                <a:latin typeface="+mn-lt"/>
              </a:rPr>
              <a:t>Известковые удобрения РТ зарегистрированы </a:t>
            </a:r>
            <a:r>
              <a:rPr lang="ru-RU" i="1" dirty="0" smtClean="0">
                <a:solidFill>
                  <a:srgbClr val="0070C0"/>
                </a:solidFill>
                <a:latin typeface="+mn-lt"/>
              </a:rPr>
              <a:t/>
            </a:r>
            <a:br>
              <a:rPr lang="ru-RU" i="1" dirty="0" smtClean="0">
                <a:solidFill>
                  <a:srgbClr val="0070C0"/>
                </a:solidFill>
                <a:latin typeface="+mn-lt"/>
              </a:rPr>
            </a:br>
            <a:r>
              <a:rPr lang="ru-RU" i="1" dirty="0" smtClean="0">
                <a:solidFill>
                  <a:srgbClr val="0070C0"/>
                </a:solidFill>
                <a:latin typeface="+mn-lt"/>
              </a:rPr>
              <a:t>в </a:t>
            </a:r>
            <a:r>
              <a:rPr lang="ru-RU" i="1" dirty="0">
                <a:solidFill>
                  <a:srgbClr val="0070C0"/>
                </a:solidFill>
                <a:latin typeface="+mn-lt"/>
              </a:rPr>
              <a:t>Государственном каталоге </a:t>
            </a:r>
            <a:r>
              <a:rPr lang="ru-RU" i="1" dirty="0" err="1">
                <a:solidFill>
                  <a:srgbClr val="0070C0"/>
                </a:solidFill>
                <a:latin typeface="+mn-lt"/>
              </a:rPr>
              <a:t>агрохимикатов</a:t>
            </a:r>
            <a:r>
              <a:rPr lang="ru-RU" i="1" dirty="0">
                <a:solidFill>
                  <a:srgbClr val="0070C0"/>
                </a:solidFill>
                <a:latin typeface="+mn-lt"/>
              </a:rPr>
              <a:t> </a:t>
            </a:r>
            <a:r>
              <a:rPr lang="ru-RU" i="1" dirty="0" smtClean="0">
                <a:solidFill>
                  <a:srgbClr val="0070C0"/>
                </a:solidFill>
                <a:latin typeface="+mn-lt"/>
              </a:rPr>
              <a:t/>
            </a:r>
            <a:br>
              <a:rPr lang="ru-RU" i="1" dirty="0" smtClean="0">
                <a:solidFill>
                  <a:srgbClr val="0070C0"/>
                </a:solidFill>
                <a:latin typeface="+mn-lt"/>
              </a:rPr>
            </a:br>
            <a:r>
              <a:rPr lang="ru-RU" i="1" dirty="0" smtClean="0">
                <a:solidFill>
                  <a:srgbClr val="0070C0"/>
                </a:solidFill>
                <a:latin typeface="+mn-lt"/>
              </a:rPr>
              <a:t>до </a:t>
            </a:r>
            <a:r>
              <a:rPr lang="ru-RU" i="1" dirty="0">
                <a:solidFill>
                  <a:srgbClr val="0070C0"/>
                </a:solidFill>
                <a:latin typeface="+mn-lt"/>
              </a:rPr>
              <a:t>2028 </a:t>
            </a:r>
            <a:r>
              <a:rPr lang="ru-RU" i="1" dirty="0" smtClean="0">
                <a:solidFill>
                  <a:srgbClr val="0070C0"/>
                </a:solidFill>
                <a:latin typeface="+mn-lt"/>
              </a:rPr>
              <a:t>года</a:t>
            </a:r>
            <a:r>
              <a:rPr lang="ru-RU" dirty="0">
                <a:solidFill>
                  <a:srgbClr val="0070C0"/>
                </a:solidFill>
                <a:latin typeface="+mn-lt"/>
              </a:rPr>
              <a:t>.</a:t>
            </a:r>
            <a:endParaRPr lang="ru-RU" i="1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42924" y="4175897"/>
            <a:ext cx="520042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sz="2000" b="1" dirty="0" smtClean="0">
                <a:cs typeface="Arial" pitchFamily="34" charset="0"/>
              </a:rPr>
              <a:t>Запасы карбонатных </a:t>
            </a:r>
            <a:r>
              <a:rPr lang="ru-RU" sz="2000" b="1" dirty="0">
                <a:cs typeface="Arial" pitchFamily="34" charset="0"/>
              </a:rPr>
              <a:t>пород </a:t>
            </a:r>
            <a:r>
              <a:rPr lang="ru-RU" sz="2000" b="1" dirty="0" smtClean="0">
                <a:cs typeface="Arial" pitchFamily="34" charset="0"/>
              </a:rPr>
              <a:t/>
            </a:r>
            <a:br>
              <a:rPr lang="ru-RU" sz="2000" b="1" dirty="0" smtClean="0">
                <a:cs typeface="Arial" pitchFamily="34" charset="0"/>
              </a:rPr>
            </a:br>
            <a:r>
              <a:rPr lang="ru-RU" sz="2000" b="1" dirty="0" smtClean="0">
                <a:cs typeface="Arial" pitchFamily="34" charset="0"/>
              </a:rPr>
              <a:t>в </a:t>
            </a:r>
            <a:r>
              <a:rPr lang="ru-RU" sz="2000" b="1" dirty="0">
                <a:cs typeface="Arial" pitchFamily="34" charset="0"/>
              </a:rPr>
              <a:t>Татарстане более </a:t>
            </a:r>
            <a:r>
              <a:rPr lang="ru-RU" sz="2400" b="1" dirty="0">
                <a:solidFill>
                  <a:srgbClr val="006600"/>
                </a:solidFill>
                <a:cs typeface="Arial" pitchFamily="34" charset="0"/>
              </a:rPr>
              <a:t>100 000 000</a:t>
            </a:r>
            <a:r>
              <a:rPr lang="ru-RU" sz="2000" b="1" dirty="0">
                <a:solidFill>
                  <a:srgbClr val="006600"/>
                </a:solidFill>
                <a:cs typeface="Arial" pitchFamily="34" charset="0"/>
              </a:rPr>
              <a:t> </a:t>
            </a:r>
            <a:r>
              <a:rPr lang="ru-RU" sz="2000" b="1" dirty="0" err="1" smtClean="0">
                <a:cs typeface="Arial" pitchFamily="34" charset="0"/>
              </a:rPr>
              <a:t>тн</a:t>
            </a:r>
            <a:r>
              <a:rPr lang="ru-RU" sz="2000" b="1" dirty="0" smtClean="0">
                <a:cs typeface="Arial" pitchFamily="34" charset="0"/>
              </a:rPr>
              <a:t> </a:t>
            </a:r>
            <a:br>
              <a:rPr lang="ru-RU" sz="2000" b="1" dirty="0" smtClean="0">
                <a:cs typeface="Arial" pitchFamily="34" charset="0"/>
              </a:rPr>
            </a:br>
            <a:r>
              <a:rPr lang="ru-RU" sz="2000" b="1" dirty="0" smtClean="0">
                <a:cs typeface="Arial" pitchFamily="34" charset="0"/>
              </a:rPr>
              <a:t>(на </a:t>
            </a:r>
            <a:r>
              <a:rPr lang="ru-RU" sz="2000" b="1" dirty="0">
                <a:cs typeface="Arial" pitchFamily="34" charset="0"/>
              </a:rPr>
              <a:t>100 лет</a:t>
            </a:r>
            <a:r>
              <a:rPr lang="ru-RU" sz="2000" b="1" dirty="0" smtClean="0">
                <a:cs typeface="Arial" pitchFamily="34" charset="0"/>
              </a:rPr>
              <a:t>)</a:t>
            </a:r>
            <a:r>
              <a:rPr lang="ru-RU" sz="2000" b="1" dirty="0">
                <a:cs typeface="Arial" pitchFamily="34" charset="0"/>
              </a:rPr>
              <a:t>.</a:t>
            </a:r>
            <a:endParaRPr lang="en-US" sz="2000" b="1" dirty="0" smtClean="0">
              <a:cs typeface="Arial" pitchFamily="34" charset="0"/>
            </a:endParaRPr>
          </a:p>
          <a:p>
            <a:pPr algn="ctr">
              <a:spcAft>
                <a:spcPts val="1200"/>
              </a:spcAft>
            </a:pPr>
            <a:r>
              <a:rPr lang="ru-RU" sz="2400" b="1" dirty="0">
                <a:solidFill>
                  <a:srgbClr val="006600"/>
                </a:solidFill>
                <a:cs typeface="Arial" pitchFamily="34" charset="0"/>
              </a:rPr>
              <a:t>1 200 000</a:t>
            </a:r>
            <a:r>
              <a:rPr lang="ru-RU" sz="2000" b="1" dirty="0">
                <a:solidFill>
                  <a:srgbClr val="006600"/>
                </a:solidFill>
                <a:cs typeface="Arial" pitchFamily="34" charset="0"/>
              </a:rPr>
              <a:t> </a:t>
            </a:r>
            <a:r>
              <a:rPr lang="ru-RU" sz="2000" b="1" dirty="0" err="1" smtClean="0">
                <a:cs typeface="Arial" pitchFamily="34" charset="0"/>
              </a:rPr>
              <a:t>тн</a:t>
            </a:r>
            <a:r>
              <a:rPr lang="ru-RU" sz="2000" b="1" dirty="0" smtClean="0">
                <a:cs typeface="Arial" pitchFamily="34" charset="0"/>
              </a:rPr>
              <a:t> </a:t>
            </a:r>
            <a:r>
              <a:rPr lang="ru-RU" sz="2000" b="1" dirty="0">
                <a:cs typeface="Arial" pitchFamily="34" charset="0"/>
              </a:rPr>
              <a:t>общая проектная производительность известковых удобрений в </a:t>
            </a:r>
            <a:r>
              <a:rPr lang="ru-RU" sz="2000" b="1" dirty="0" smtClean="0">
                <a:cs typeface="Arial" pitchFamily="34" charset="0"/>
              </a:rPr>
              <a:t>год.</a:t>
            </a:r>
            <a:endParaRPr lang="ru-RU" sz="2000" b="1" dirty="0">
              <a:cs typeface="Arial" pitchFamily="34" charset="0"/>
            </a:endParaRPr>
          </a:p>
        </p:txBody>
      </p:sp>
      <p:pic>
        <p:nvPicPr>
          <p:cNvPr id="2050" name="Picture 2" descr="J:\YandexDisk\Документы\для сайта\татагрохим\75059909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092"/>
          <a:stretch/>
        </p:blipFill>
        <p:spPr bwMode="auto">
          <a:xfrm>
            <a:off x="6599967" y="4046020"/>
            <a:ext cx="5054228" cy="2557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Скругленный прямоугольник 7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15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3565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846161" y="1191648"/>
            <a:ext cx="1134583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ГОСУДАРСТВЕННАЯ ПОДДЕРЖКА НА МЕРОПРИЯТИЯ </a:t>
            </a:r>
            <a:b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О ИЗВЕСТКОВАНИЮ КИСЛЫХ ПОЧВ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330771" y="3313906"/>
            <a:ext cx="9107807" cy="318035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    в </a:t>
            </a:r>
            <a:r>
              <a:rPr lang="ru-RU" sz="2800" b="1" dirty="0" err="1" smtClean="0">
                <a:cs typeface="Arial" pitchFamily="34" charset="0"/>
              </a:rPr>
              <a:t>т.ч</a:t>
            </a:r>
            <a:r>
              <a:rPr lang="ru-RU" sz="2800" b="1" dirty="0" smtClean="0">
                <a:cs typeface="Arial" pitchFamily="34" charset="0"/>
              </a:rPr>
              <a:t>.:</a:t>
            </a:r>
          </a:p>
          <a:p>
            <a:pPr>
              <a:spcBef>
                <a:spcPts val="4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       - РФ - </a:t>
            </a:r>
            <a:r>
              <a:rPr lang="ru-RU" sz="3200" b="1" dirty="0">
                <a:solidFill>
                  <a:srgbClr val="006600"/>
                </a:solidFill>
                <a:cs typeface="Arial" pitchFamily="34" charset="0"/>
              </a:rPr>
              <a:t>40,6</a:t>
            </a:r>
            <a:r>
              <a:rPr lang="ru-RU" sz="2800" b="1" dirty="0" smtClean="0">
                <a:cs typeface="Arial" pitchFamily="34" charset="0"/>
              </a:rPr>
              <a:t> </a:t>
            </a:r>
            <a:r>
              <a:rPr lang="ru-RU" sz="2800" b="1" dirty="0">
                <a:cs typeface="Arial" pitchFamily="34" charset="0"/>
              </a:rPr>
              <a:t>млн Р</a:t>
            </a:r>
          </a:p>
          <a:p>
            <a:pPr>
              <a:spcBef>
                <a:spcPts val="4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       - РТ  - </a:t>
            </a:r>
            <a:r>
              <a:rPr lang="ru-RU" sz="3200" b="1" dirty="0" smtClean="0">
                <a:solidFill>
                  <a:srgbClr val="006600"/>
                </a:solidFill>
                <a:cs typeface="Arial" pitchFamily="34" charset="0"/>
              </a:rPr>
              <a:t>29,4</a:t>
            </a:r>
            <a:r>
              <a:rPr lang="ru-RU" sz="2800" b="1" dirty="0" smtClean="0">
                <a:cs typeface="Arial" pitchFamily="34" charset="0"/>
              </a:rPr>
              <a:t> </a:t>
            </a:r>
            <a:r>
              <a:rPr lang="ru-RU" sz="2800" b="1" dirty="0">
                <a:cs typeface="Arial" pitchFamily="34" charset="0"/>
              </a:rPr>
              <a:t>млн Р</a:t>
            </a:r>
          </a:p>
          <a:p>
            <a:pPr>
              <a:spcBef>
                <a:spcPts val="4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    Доведено до хозяйств </a:t>
            </a:r>
            <a:r>
              <a:rPr lang="ru-RU" sz="2800" b="1" dirty="0">
                <a:cs typeface="Arial" pitchFamily="34" charset="0"/>
              </a:rPr>
              <a:t>- </a:t>
            </a:r>
            <a:r>
              <a:rPr lang="ru-RU" sz="3200" b="1" dirty="0">
                <a:solidFill>
                  <a:srgbClr val="006600"/>
                </a:solidFill>
                <a:cs typeface="Arial" pitchFamily="34" charset="0"/>
              </a:rPr>
              <a:t>30</a:t>
            </a:r>
            <a:r>
              <a:rPr lang="ru-RU" sz="2800" b="1" dirty="0">
                <a:cs typeface="Arial" pitchFamily="34" charset="0"/>
              </a:rPr>
              <a:t> </a:t>
            </a:r>
            <a:r>
              <a:rPr lang="ru-RU" sz="2800" b="1" dirty="0">
                <a:cs typeface="Arial" pitchFamily="34" charset="0"/>
              </a:rPr>
              <a:t>млн </a:t>
            </a:r>
            <a:r>
              <a:rPr lang="ru-RU" sz="2800" b="1" dirty="0">
                <a:cs typeface="Arial" pitchFamily="34" charset="0"/>
              </a:rPr>
              <a:t>Р</a:t>
            </a:r>
          </a:p>
          <a:p>
            <a:pPr>
              <a:spcBef>
                <a:spcPts val="4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    В </a:t>
            </a:r>
            <a:r>
              <a:rPr lang="ru-RU" sz="2800" b="1" dirty="0">
                <a:cs typeface="Arial" pitchFamily="34" charset="0"/>
              </a:rPr>
              <a:t>апреле будут доведена - </a:t>
            </a:r>
            <a:r>
              <a:rPr lang="ru-RU" sz="3200" b="1" dirty="0">
                <a:solidFill>
                  <a:srgbClr val="006600"/>
                </a:solidFill>
                <a:cs typeface="Arial" pitchFamily="34" charset="0"/>
              </a:rPr>
              <a:t>35</a:t>
            </a:r>
            <a:r>
              <a:rPr lang="ru-RU" sz="2800" b="1" dirty="0">
                <a:cs typeface="Arial" pitchFamily="34" charset="0"/>
              </a:rPr>
              <a:t> </a:t>
            </a:r>
            <a:r>
              <a:rPr lang="ru-RU" sz="2800" b="1" dirty="0">
                <a:cs typeface="Arial" pitchFamily="34" charset="0"/>
              </a:rPr>
              <a:t>млн Р</a:t>
            </a:r>
          </a:p>
          <a:p>
            <a:pPr>
              <a:spcBef>
                <a:spcPts val="4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    Оставшаяся </a:t>
            </a:r>
            <a:r>
              <a:rPr lang="ru-RU" sz="2800" b="1" dirty="0">
                <a:cs typeface="Arial" pitchFamily="34" charset="0"/>
              </a:rPr>
              <a:t>часть будет доведена в начале </a:t>
            </a:r>
            <a:r>
              <a:rPr lang="ru-RU" sz="2800" b="1" dirty="0" smtClean="0">
                <a:cs typeface="Arial" pitchFamily="34" charset="0"/>
              </a:rPr>
              <a:t>мая   </a:t>
            </a:r>
            <a:endParaRPr lang="ru-RU" sz="2800" b="1" dirty="0"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92573" y="2314787"/>
            <a:ext cx="8843749" cy="9233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ru-RU" sz="2800" b="1" dirty="0" smtClean="0">
                <a:cs typeface="Arial" pitchFamily="34" charset="0"/>
              </a:rPr>
              <a:t>Выделено субсидий </a:t>
            </a:r>
            <a:r>
              <a:rPr lang="ru-RU" sz="2800" b="1" dirty="0">
                <a:cs typeface="Arial" pitchFamily="34" charset="0"/>
              </a:rPr>
              <a:t>на 2020 год </a:t>
            </a:r>
            <a:r>
              <a:rPr lang="ru-RU" sz="2800" b="1" dirty="0" smtClean="0">
                <a:cs typeface="Arial" pitchFamily="34" charset="0"/>
              </a:rPr>
              <a:t>- </a:t>
            </a:r>
            <a:r>
              <a:rPr lang="ru-RU" sz="3200" b="1" dirty="0" smtClean="0">
                <a:solidFill>
                  <a:srgbClr val="006600"/>
                </a:solidFill>
                <a:cs typeface="Arial" pitchFamily="34" charset="0"/>
              </a:rPr>
              <a:t>70 </a:t>
            </a:r>
            <a:r>
              <a:rPr lang="ru-RU" sz="2800" b="1" dirty="0">
                <a:cs typeface="Arial" pitchFamily="34" charset="0"/>
              </a:rPr>
              <a:t>млн Р:</a:t>
            </a:r>
          </a:p>
          <a:p>
            <a:pPr algn="ctr"/>
            <a:r>
              <a:rPr lang="ru-RU" sz="2800" b="1" dirty="0" smtClean="0">
                <a:cs typeface="Arial" pitchFamily="34" charset="0"/>
              </a:rPr>
              <a:t>(за известкование 2019 года)</a:t>
            </a:r>
            <a:endParaRPr lang="ru-RU" sz="2800" b="1" dirty="0">
              <a:cs typeface="Arial" pitchFamily="34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16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2663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818866" y="1117570"/>
            <a:ext cx="11373135" cy="5103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ДОВЕДЕНИЕ СРЕДСТВ ПО ИЗВЕСТКОВАНИЮ 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913" y="127603"/>
            <a:ext cx="619956" cy="619956"/>
          </a:xfrm>
          <a:prstGeom prst="rect">
            <a:avLst/>
          </a:prstGeom>
        </p:spPr>
      </p:pic>
      <p:sp>
        <p:nvSpPr>
          <p:cNvPr id="15" name="Скругленный прямоугольник 14"/>
          <p:cNvSpPr/>
          <p:nvPr/>
        </p:nvSpPr>
        <p:spPr>
          <a:xfrm>
            <a:off x="11744894" y="6579297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17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5548769"/>
              </p:ext>
            </p:extLst>
          </p:nvPr>
        </p:nvGraphicFramePr>
        <p:xfrm>
          <a:off x="1305631" y="1805506"/>
          <a:ext cx="4252211" cy="47821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692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8292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180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  <a:endParaRPr lang="ru-RU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ыс.</a:t>
                      </a:r>
                      <a:r>
                        <a:rPr lang="ru-RU" sz="2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2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</a:t>
                      </a:r>
                      <a:endParaRPr lang="ru-RU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80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ктанышский</a:t>
                      </a:r>
                      <a:endParaRPr lang="ru-RU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12700" marT="127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укаевский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услюмовский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рский</a:t>
                      </a: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урлатский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алтасинский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ктанышский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тнинский</a:t>
                      </a: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абинский</a:t>
                      </a: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Черемшанский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естречинский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Лениногорский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1588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20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пастовский</a:t>
                      </a:r>
                      <a:endParaRPr lang="ru-RU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5068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2400" b="1" i="0" u="none" strike="noStrike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Arial" pitchFamily="34" charset="0"/>
                        </a:rPr>
                        <a:t>Итого</a:t>
                      </a:r>
                      <a:endParaRPr lang="ru-RU" sz="2400" b="1" i="0" u="none" strike="noStrike" kern="12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400" b="1" i="0" u="none" strike="noStrike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300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pic>
        <p:nvPicPr>
          <p:cNvPr id="8" name="Picture 2" descr="J:\YandexDisk\Документы\Справочник агрохимика\известкование\DSC_0658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17297" y="1836550"/>
            <a:ext cx="3703895" cy="2517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J:\YandexDisk\Документы\для сайта\татагрохим\P_20170907_142721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02965" y="3861641"/>
            <a:ext cx="3703895" cy="2517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57507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818866" y="1273279"/>
            <a:ext cx="11373134" cy="798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sz="2600" dirty="0" smtClean="0">
                <a:solidFill>
                  <a:srgbClr val="0070C0"/>
                </a:solidFill>
                <a:cs typeface="Arial" pitchFamily="34" charset="0"/>
              </a:rPr>
              <a:t>АКТИВНОСТЬ РАЙОНОВ ПО ИЗВЕСТКОВАНИЮ В 2020 ГОДУ</a:t>
            </a:r>
          </a:p>
          <a:p>
            <a:pPr algn="ctr"/>
            <a:r>
              <a:rPr lang="ru-RU" sz="2400" b="1" dirty="0" smtClean="0">
                <a:solidFill>
                  <a:schemeClr val="tx1"/>
                </a:solidFill>
                <a:cs typeface="Arial" pitchFamily="34" charset="0"/>
              </a:rPr>
              <a:t>(индикатор на 2020 год 80 </a:t>
            </a:r>
            <a:r>
              <a:rPr lang="ru-RU" sz="2400" b="1" dirty="0" err="1" smtClean="0">
                <a:solidFill>
                  <a:schemeClr val="tx1"/>
                </a:solidFill>
                <a:cs typeface="Arial" pitchFamily="34" charset="0"/>
              </a:rPr>
              <a:t>тыс.га</a:t>
            </a:r>
            <a:r>
              <a:rPr lang="ru-RU" sz="2400" b="1" dirty="0" smtClean="0">
                <a:solidFill>
                  <a:schemeClr val="tx1"/>
                </a:solidFill>
                <a:cs typeface="Arial" pitchFamily="34" charset="0"/>
              </a:rPr>
              <a:t>, разработано ПСД на 105 </a:t>
            </a:r>
            <a:r>
              <a:rPr lang="ru-RU" sz="2400" b="1" dirty="0" err="1" smtClean="0">
                <a:solidFill>
                  <a:schemeClr val="tx1"/>
                </a:solidFill>
                <a:cs typeface="Arial" pitchFamily="34" charset="0"/>
              </a:rPr>
              <a:t>тыс.га</a:t>
            </a:r>
            <a:r>
              <a:rPr lang="ru-RU" sz="2400" b="1" dirty="0" smtClean="0">
                <a:solidFill>
                  <a:schemeClr val="tx1"/>
                </a:solidFill>
                <a:cs typeface="Arial" pitchFamily="34" charset="0"/>
              </a:rPr>
              <a:t>)</a:t>
            </a:r>
            <a:endParaRPr lang="ru-RU" sz="2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1744893" y="6579296"/>
            <a:ext cx="413238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8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6751632"/>
              </p:ext>
            </p:extLst>
          </p:nvPr>
        </p:nvGraphicFramePr>
        <p:xfrm>
          <a:off x="1252485" y="2404636"/>
          <a:ext cx="4969024" cy="39065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340">
                  <a:extLst>
                    <a:ext uri="{9D8B030D-6E8A-4147-A177-3AD203B41FA5}">
                      <a16:colId xmlns:a16="http://schemas.microsoft.com/office/drawing/2014/main" xmlns="" val="2060910467"/>
                    </a:ext>
                  </a:extLst>
                </a:gridCol>
                <a:gridCol w="1701432">
                  <a:extLst>
                    <a:ext uri="{9D8B030D-6E8A-4147-A177-3AD203B41FA5}">
                      <a16:colId xmlns:a16="http://schemas.microsoft.com/office/drawing/2014/main" xmlns="" val="357772592"/>
                    </a:ext>
                  </a:extLst>
                </a:gridCol>
                <a:gridCol w="92525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9171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  <a:endParaRPr lang="ru-RU" sz="1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лощади</a:t>
                      </a:r>
                      <a:r>
                        <a:rPr lang="ru-RU" sz="18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известкования </a:t>
                      </a:r>
                      <a:br>
                        <a:rPr lang="ru-RU" sz="18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</a:br>
                      <a:r>
                        <a:rPr lang="ru-RU" sz="18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 ПСД</a:t>
                      </a:r>
                      <a:r>
                        <a:rPr lang="ru-RU" sz="1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, га</a:t>
                      </a:r>
                      <a:endParaRPr lang="ru-RU" sz="1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 от кислых почв</a:t>
                      </a:r>
                      <a:endParaRPr lang="ru-RU" sz="1800" b="1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алтасин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647,7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1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99022545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тнин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799,9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4187596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Зеленодоль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112,3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6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53447347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рский</a:t>
                      </a: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8107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6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07258781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уин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965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3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77698630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айбиц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52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3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92922666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етюш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578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3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0666156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.Слобод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556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2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69500003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8159754"/>
              </p:ext>
            </p:extLst>
          </p:nvPr>
        </p:nvGraphicFramePr>
        <p:xfrm>
          <a:off x="6711628" y="2419445"/>
          <a:ext cx="4897666" cy="39065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15838">
                  <a:extLst>
                    <a:ext uri="{9D8B030D-6E8A-4147-A177-3AD203B41FA5}">
                      <a16:colId xmlns:a16="http://schemas.microsoft.com/office/drawing/2014/main" xmlns="" val="2179707382"/>
                    </a:ext>
                  </a:extLst>
                </a:gridCol>
                <a:gridCol w="1667428">
                  <a:extLst>
                    <a:ext uri="{9D8B030D-6E8A-4147-A177-3AD203B41FA5}">
                      <a16:colId xmlns:a16="http://schemas.microsoft.com/office/drawing/2014/main" xmlns="" val="407081528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91718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  <a:endParaRPr lang="ru-RU" sz="1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лощади известкования </a:t>
                      </a:r>
                      <a:br>
                        <a:rPr lang="ru-RU" sz="1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</a:br>
                      <a:r>
                        <a:rPr lang="ru-RU" sz="1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 ПСД, га</a:t>
                      </a:r>
                      <a:endParaRPr lang="ru-RU" sz="1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от кислых почв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рожжанов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211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1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0160682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Заин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953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1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59837638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Елабуж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897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0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2643675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льметьев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541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0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67042845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юлячин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824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0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76024212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укмор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533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0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укаев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756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0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56495819"/>
                  </a:ext>
                </a:extLst>
              </a:tr>
              <a:tr h="37366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Лениногорский</a:t>
                      </a:r>
                      <a:endParaRPr lang="ru-RU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351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0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383402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01520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832514" y="1272017"/>
            <a:ext cx="11352913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АКТИВНОСТЬ РАЙОНОВ ПО ИЗВЕСТКОВАНИЮ В 2020 ГОДУ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1744893" y="6579296"/>
            <a:ext cx="413238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9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4447465"/>
              </p:ext>
            </p:extLst>
          </p:nvPr>
        </p:nvGraphicFramePr>
        <p:xfrm>
          <a:off x="1146489" y="2129271"/>
          <a:ext cx="5003299" cy="4163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52525">
                  <a:extLst>
                    <a:ext uri="{9D8B030D-6E8A-4147-A177-3AD203B41FA5}">
                      <a16:colId xmlns:a16="http://schemas.microsoft.com/office/drawing/2014/main" xmlns="" val="2060910467"/>
                    </a:ext>
                  </a:extLst>
                </a:gridCol>
                <a:gridCol w="1801904">
                  <a:extLst>
                    <a:ext uri="{9D8B030D-6E8A-4147-A177-3AD203B41FA5}">
                      <a16:colId xmlns:a16="http://schemas.microsoft.com/office/drawing/2014/main" xmlns="" val="357772592"/>
                    </a:ext>
                  </a:extLst>
                </a:gridCol>
                <a:gridCol w="104887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2069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лощади</a:t>
                      </a:r>
                      <a:r>
                        <a:rPr lang="ru-RU" sz="20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известкования </a:t>
                      </a:r>
                      <a:br>
                        <a:rPr lang="ru-RU" sz="20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</a:br>
                      <a:r>
                        <a:rPr lang="ru-RU" sz="20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 ПСД</a:t>
                      </a:r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, га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от кислых </a:t>
                      </a:r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чв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пастовский</a:t>
                      </a:r>
                      <a:endParaRPr lang="ru-RU" sz="2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198</a:t>
                      </a:r>
                      <a:endParaRPr lang="ru-RU" sz="24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9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22065959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амадышский</a:t>
                      </a:r>
                      <a:endParaRPr lang="ru-RU" sz="2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825</a:t>
                      </a:r>
                      <a:endParaRPr lang="ru-RU" sz="24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9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48130898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Лаишевский</a:t>
                      </a:r>
                      <a:endParaRPr lang="ru-RU" sz="2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311</a:t>
                      </a:r>
                      <a:endParaRPr lang="ru-RU" sz="24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8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92693252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енделеевский</a:t>
                      </a: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836</a:t>
                      </a:r>
                      <a:endParaRPr lang="ru-RU" sz="24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8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45251508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ензелинский</a:t>
                      </a:r>
                      <a:endParaRPr lang="ru-RU" sz="2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309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8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50591695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абинский</a:t>
                      </a: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555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7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58519755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лексеевский</a:t>
                      </a: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699</a:t>
                      </a:r>
                      <a:endParaRPr lang="ru-RU" sz="24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7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73218950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0138708"/>
              </p:ext>
            </p:extLst>
          </p:nvPr>
        </p:nvGraphicFramePr>
        <p:xfrm>
          <a:off x="6592144" y="2129271"/>
          <a:ext cx="5195109" cy="4163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80119">
                  <a:extLst>
                    <a:ext uri="{9D8B030D-6E8A-4147-A177-3AD203B41FA5}">
                      <a16:colId xmlns:a16="http://schemas.microsoft.com/office/drawing/2014/main" xmlns="" val="2179707382"/>
                    </a:ext>
                  </a:extLst>
                </a:gridCol>
                <a:gridCol w="1822630">
                  <a:extLst>
                    <a:ext uri="{9D8B030D-6E8A-4147-A177-3AD203B41FA5}">
                      <a16:colId xmlns:a16="http://schemas.microsoft.com/office/drawing/2014/main" xmlns="" val="4070815281"/>
                    </a:ext>
                  </a:extLst>
                </a:gridCol>
                <a:gridCol w="1092360">
                  <a:extLst>
                    <a:ext uri="{9D8B030D-6E8A-4147-A177-3AD203B41FA5}">
                      <a16:colId xmlns:a16="http://schemas.microsoft.com/office/drawing/2014/main" xmlns="" val="1992907705"/>
                    </a:ext>
                  </a:extLst>
                </a:gridCol>
              </a:tblGrid>
              <a:tr h="120694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лощади</a:t>
                      </a:r>
                      <a:r>
                        <a:rPr lang="ru-RU" sz="20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известкования по ПСД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от кислых </a:t>
                      </a:r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чв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естречинский</a:t>
                      </a:r>
                      <a:endParaRPr lang="ru-RU" sz="2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340</a:t>
                      </a:r>
                      <a:endParaRPr lang="ru-RU" sz="24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22109183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ксубаев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807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13075040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грыз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332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40007442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услюмов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309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68729594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Верхнеуслон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767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76024212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лькеев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640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знакаев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00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</a:t>
                      </a:r>
                    </a:p>
                  </a:txBody>
                  <a:tcPr marL="6350" marR="635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564958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8506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>
                <a:solidFill>
                  <a:prstClr val="black"/>
                </a:solidFill>
                <a:cs typeface="Arial" panose="020B0604020202020204" pitchFamily="34" charset="0"/>
              </a:rPr>
              <a:t>2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91571" y="1221342"/>
            <a:ext cx="1140043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ГОСУДАРСТВЕННАЯ ПОДДЕРЖКА ОТРАСЛИ РАСТЕНИЕВОДСТВ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305981" y="3234923"/>
            <a:ext cx="10438914" cy="32627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3500"/>
              </a:lnSpc>
              <a:spcBef>
                <a:spcPts val="18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в </a:t>
            </a:r>
            <a:r>
              <a:rPr lang="ru-RU" sz="2800" b="1" dirty="0" err="1" smtClean="0">
                <a:cs typeface="Arial" pitchFamily="34" charset="0"/>
              </a:rPr>
              <a:t>т.ч</a:t>
            </a:r>
            <a:r>
              <a:rPr lang="ru-RU" sz="2800" b="1" dirty="0" smtClean="0">
                <a:cs typeface="Arial" pitchFamily="34" charset="0"/>
              </a:rPr>
              <a:t>. компенсирующая субсидия (</a:t>
            </a:r>
            <a:r>
              <a:rPr lang="ru-RU" sz="2800" b="1" dirty="0" err="1" smtClean="0">
                <a:cs typeface="Arial" pitchFamily="34" charset="0"/>
              </a:rPr>
              <a:t>несвязка</a:t>
            </a:r>
            <a:r>
              <a:rPr lang="ru-RU" sz="2800" b="1" dirty="0" smtClean="0">
                <a:cs typeface="Arial" pitchFamily="34" charset="0"/>
              </a:rPr>
              <a:t>)	- </a:t>
            </a:r>
            <a:r>
              <a:rPr lang="ru-RU" sz="3200" b="1" dirty="0" smtClean="0">
                <a:solidFill>
                  <a:srgbClr val="006600"/>
                </a:solidFill>
                <a:cs typeface="Arial" pitchFamily="34" charset="0"/>
              </a:rPr>
              <a:t>600</a:t>
            </a:r>
            <a:r>
              <a:rPr lang="ru-RU" sz="3200" b="1" dirty="0" smtClean="0">
                <a:cs typeface="Arial" pitchFamily="34" charset="0"/>
              </a:rPr>
              <a:t> </a:t>
            </a:r>
            <a:r>
              <a:rPr lang="ru-RU" sz="2800" b="1" dirty="0">
                <a:cs typeface="Arial" pitchFamily="34" charset="0"/>
              </a:rPr>
              <a:t>млн Р</a:t>
            </a:r>
          </a:p>
          <a:p>
            <a:pPr marL="900113">
              <a:lnSpc>
                <a:spcPts val="3500"/>
              </a:lnSpc>
              <a:spcBef>
                <a:spcPts val="18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стимулирование </a:t>
            </a:r>
            <a:r>
              <a:rPr lang="ru-RU" sz="2800" b="1" dirty="0" err="1" smtClean="0">
                <a:cs typeface="Arial" pitchFamily="34" charset="0"/>
              </a:rPr>
              <a:t>подотраслей</a:t>
            </a:r>
            <a:r>
              <a:rPr lang="ru-RU" sz="2800" b="1" dirty="0" smtClean="0">
                <a:cs typeface="Arial" pitchFamily="34" charset="0"/>
              </a:rPr>
              <a:t> АПК 	- </a:t>
            </a:r>
            <a:r>
              <a:rPr lang="ru-RU" sz="3200" b="1" dirty="0">
                <a:solidFill>
                  <a:srgbClr val="006600"/>
                </a:solidFill>
                <a:cs typeface="Arial" pitchFamily="34" charset="0"/>
              </a:rPr>
              <a:t>607</a:t>
            </a:r>
            <a:r>
              <a:rPr lang="ru-RU" sz="2800" b="1" dirty="0" smtClean="0">
                <a:solidFill>
                  <a:srgbClr val="006600"/>
                </a:solidFill>
                <a:cs typeface="Arial" pitchFamily="34" charset="0"/>
              </a:rPr>
              <a:t> </a:t>
            </a:r>
            <a:r>
              <a:rPr lang="ru-RU" sz="2800" b="1" dirty="0" smtClean="0">
                <a:cs typeface="Arial" pitchFamily="34" charset="0"/>
              </a:rPr>
              <a:t> </a:t>
            </a:r>
            <a:r>
              <a:rPr lang="ru-RU" sz="2800" b="1" dirty="0">
                <a:cs typeface="Arial" pitchFamily="34" charset="0"/>
              </a:rPr>
              <a:t>млн Р</a:t>
            </a:r>
          </a:p>
          <a:p>
            <a:pPr marL="900113">
              <a:lnSpc>
                <a:spcPts val="3500"/>
              </a:lnSpc>
              <a:spcBef>
                <a:spcPts val="18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экспорт продукции АПК	- </a:t>
            </a:r>
            <a:r>
              <a:rPr lang="ru-RU" sz="3200" b="1" dirty="0">
                <a:solidFill>
                  <a:srgbClr val="006600"/>
                </a:solidFill>
                <a:cs typeface="Arial" pitchFamily="34" charset="0"/>
              </a:rPr>
              <a:t>72,6</a:t>
            </a:r>
            <a:r>
              <a:rPr lang="ru-RU" sz="2800" b="1" dirty="0" smtClean="0">
                <a:cs typeface="Arial" pitchFamily="34" charset="0"/>
              </a:rPr>
              <a:t> </a:t>
            </a:r>
            <a:r>
              <a:rPr lang="ru-RU" sz="2800" b="1" dirty="0">
                <a:cs typeface="Arial" pitchFamily="34" charset="0"/>
              </a:rPr>
              <a:t>млн Р</a:t>
            </a:r>
          </a:p>
          <a:p>
            <a:pPr marL="900113">
              <a:lnSpc>
                <a:spcPts val="3500"/>
              </a:lnSpc>
              <a:spcBef>
                <a:spcPts val="18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ФЦП «Развитие мелиорации земель» 	- </a:t>
            </a:r>
            <a:r>
              <a:rPr lang="ru-RU" sz="3200" b="1" dirty="0">
                <a:solidFill>
                  <a:srgbClr val="006600"/>
                </a:solidFill>
                <a:cs typeface="Arial" pitchFamily="34" charset="0"/>
              </a:rPr>
              <a:t>241</a:t>
            </a:r>
            <a:r>
              <a:rPr lang="ru-RU" sz="2800" b="1" dirty="0" smtClean="0">
                <a:solidFill>
                  <a:srgbClr val="006600"/>
                </a:solidFill>
                <a:cs typeface="Arial" pitchFamily="34" charset="0"/>
              </a:rPr>
              <a:t> </a:t>
            </a:r>
            <a:r>
              <a:rPr lang="ru-RU" sz="2800" b="1" dirty="0">
                <a:cs typeface="Arial" pitchFamily="34" charset="0"/>
              </a:rPr>
              <a:t>млн Р</a:t>
            </a:r>
          </a:p>
          <a:p>
            <a:pPr marL="900113">
              <a:lnSpc>
                <a:spcPts val="3500"/>
              </a:lnSpc>
              <a:spcBef>
                <a:spcPts val="1800"/>
              </a:spcBef>
              <a:tabLst>
                <a:tab pos="8067675" algn="l"/>
              </a:tabLst>
            </a:pPr>
            <a:r>
              <a:rPr lang="ru-RU" sz="2800" b="1" dirty="0" smtClean="0">
                <a:cs typeface="Arial" pitchFamily="34" charset="0"/>
              </a:rPr>
              <a:t>приобретение минеральных удобрений	- </a:t>
            </a:r>
            <a:r>
              <a:rPr lang="ru-RU" sz="3200" b="1" dirty="0">
                <a:solidFill>
                  <a:srgbClr val="006600"/>
                </a:solidFill>
                <a:cs typeface="Arial" pitchFamily="34" charset="0"/>
              </a:rPr>
              <a:t>1,5</a:t>
            </a:r>
            <a:r>
              <a:rPr lang="ru-RU" sz="2800" b="1" dirty="0" smtClean="0">
                <a:cs typeface="Arial" pitchFamily="34" charset="0"/>
              </a:rPr>
              <a:t> </a:t>
            </a:r>
            <a:r>
              <a:rPr lang="ru-RU" sz="2800" b="1" dirty="0">
                <a:cs typeface="Arial" pitchFamily="34" charset="0"/>
              </a:rPr>
              <a:t>млрд Р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405723" y="2124326"/>
            <a:ext cx="10153935" cy="9233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ru-RU" sz="2800" b="1" dirty="0" smtClean="0">
                <a:cs typeface="Arial" pitchFamily="34" charset="0"/>
              </a:rPr>
              <a:t>Выделено бюджетных средств за счет 2-х бюджетов – </a:t>
            </a:r>
          </a:p>
          <a:p>
            <a:pPr algn="ctr"/>
            <a:r>
              <a:rPr lang="ru-RU" sz="3200" b="1" dirty="0" smtClean="0">
                <a:solidFill>
                  <a:srgbClr val="006600"/>
                </a:solidFill>
                <a:cs typeface="Arial" pitchFamily="34" charset="0"/>
              </a:rPr>
              <a:t>3,8</a:t>
            </a:r>
            <a:r>
              <a:rPr lang="ru-RU" sz="2800" b="1" dirty="0" smtClean="0">
                <a:cs typeface="Arial" pitchFamily="34" charset="0"/>
              </a:rPr>
              <a:t> </a:t>
            </a:r>
            <a:r>
              <a:rPr lang="ru-RU" sz="2800" b="1" dirty="0">
                <a:cs typeface="Arial" pitchFamily="34" charset="0"/>
              </a:rPr>
              <a:t>млрд Р:</a:t>
            </a:r>
          </a:p>
        </p:txBody>
      </p:sp>
    </p:spTree>
    <p:extLst>
      <p:ext uri="{BB962C8B-B14F-4D97-AF65-F5344CB8AC3E}">
        <p14:creationId xmlns:p14="http://schemas.microsoft.com/office/powerpoint/2010/main" val="21812923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832514" y="1272017"/>
            <a:ext cx="11352913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АКТИВНОСТЬ РАЙОНОВ ПО ИЗВЕСТКОВАНИЮ В 2020 ГОДУ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1744893" y="6579296"/>
            <a:ext cx="413238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20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306356"/>
              </p:ext>
            </p:extLst>
          </p:nvPr>
        </p:nvGraphicFramePr>
        <p:xfrm>
          <a:off x="1146489" y="2129271"/>
          <a:ext cx="5003299" cy="37415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52525">
                  <a:extLst>
                    <a:ext uri="{9D8B030D-6E8A-4147-A177-3AD203B41FA5}">
                      <a16:colId xmlns:a16="http://schemas.microsoft.com/office/drawing/2014/main" xmlns="" val="2060910467"/>
                    </a:ext>
                  </a:extLst>
                </a:gridCol>
                <a:gridCol w="1801904">
                  <a:extLst>
                    <a:ext uri="{9D8B030D-6E8A-4147-A177-3AD203B41FA5}">
                      <a16:colId xmlns:a16="http://schemas.microsoft.com/office/drawing/2014/main" xmlns="" val="357772592"/>
                    </a:ext>
                  </a:extLst>
                </a:gridCol>
                <a:gridCol w="104887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2069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лощади</a:t>
                      </a:r>
                      <a:r>
                        <a:rPr lang="ru-RU" sz="20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известкования </a:t>
                      </a:r>
                      <a:br>
                        <a:rPr lang="ru-RU" sz="20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</a:br>
                      <a:r>
                        <a:rPr lang="ru-RU" sz="20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 ПСД</a:t>
                      </a:r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, га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от кислых </a:t>
                      </a:r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чв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Черемшан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56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22065959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Высокогорский</a:t>
                      </a: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79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48130898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ктаныш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05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92693252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арманов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35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45251508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.Шешмин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24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50591695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урлат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62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58519755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4535011"/>
              </p:ext>
            </p:extLst>
          </p:nvPr>
        </p:nvGraphicFramePr>
        <p:xfrm>
          <a:off x="6592144" y="2129271"/>
          <a:ext cx="5195109" cy="4163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80119">
                  <a:extLst>
                    <a:ext uri="{9D8B030D-6E8A-4147-A177-3AD203B41FA5}">
                      <a16:colId xmlns:a16="http://schemas.microsoft.com/office/drawing/2014/main" xmlns="" val="2179707382"/>
                    </a:ext>
                  </a:extLst>
                </a:gridCol>
                <a:gridCol w="1822630">
                  <a:extLst>
                    <a:ext uri="{9D8B030D-6E8A-4147-A177-3AD203B41FA5}">
                      <a16:colId xmlns:a16="http://schemas.microsoft.com/office/drawing/2014/main" xmlns="" val="4070815281"/>
                    </a:ext>
                  </a:extLst>
                </a:gridCol>
                <a:gridCol w="1092360">
                  <a:extLst>
                    <a:ext uri="{9D8B030D-6E8A-4147-A177-3AD203B41FA5}">
                      <a16:colId xmlns:a16="http://schemas.microsoft.com/office/drawing/2014/main" xmlns="" val="1992907705"/>
                    </a:ext>
                  </a:extLst>
                </a:gridCol>
              </a:tblGrid>
              <a:tr h="120694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лощади</a:t>
                      </a:r>
                      <a:r>
                        <a:rPr lang="ru-RU" sz="20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известкования по ПСД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от кислых </a:t>
                      </a:r>
                      <a:r>
                        <a:rPr lang="ru-R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чв</a:t>
                      </a:r>
                      <a:endParaRPr lang="ru-R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Чистополь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29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22109183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пасский</a:t>
                      </a: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65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13075040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ижнекамский</a:t>
                      </a: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87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40007442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.Устьинский</a:t>
                      </a:r>
                      <a:endParaRPr lang="ru-RU" sz="2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49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68729594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Ютазинский</a:t>
                      </a:r>
                      <a:endParaRPr lang="ru-RU" sz="2100" b="1" i="0" u="none" strike="noStrike" kern="1200" dirty="0">
                        <a:solidFill>
                          <a:srgbClr val="0066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0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76024212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авлинский</a:t>
                      </a:r>
                      <a:endParaRPr lang="ru-RU" sz="2100" b="1" i="0" u="none" strike="noStrike" kern="1200" dirty="0">
                        <a:solidFill>
                          <a:srgbClr val="0066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2243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2100" b="1" i="0" u="none" strike="noStrike" kern="1200" dirty="0" err="1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угульминский</a:t>
                      </a:r>
                      <a:endParaRPr lang="ru-RU" sz="2100" b="1" i="0" u="none" strike="noStrike" kern="1200" dirty="0">
                        <a:solidFill>
                          <a:srgbClr val="0066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3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2400" b="1" i="0" u="none" strike="noStrike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564958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68691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21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91571" y="1166757"/>
            <a:ext cx="1140043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ОРЯДОК ПРОВЕДЕНИЯ ИЗВЕСТКОВАНИЯ И ПОДАЧИ ЗАЯВКИ</a:t>
            </a:r>
          </a:p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          НА СУБСИДИРОВАНИЕ В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020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ГОДУ 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85799" y="2601284"/>
            <a:ext cx="10105566" cy="398570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457200" indent="-45720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разработка ПСД;</a:t>
            </a:r>
            <a:endParaRPr lang="ru-RU" sz="2500" b="1" strike="sngStrike" dirty="0" smtClean="0">
              <a:cs typeface="Times New Roman" pitchFamily="18" charset="0"/>
            </a:endParaRPr>
          </a:p>
          <a:p>
            <a:pPr marL="457200" indent="-45720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заключение договора с </a:t>
            </a:r>
            <a:r>
              <a:rPr lang="ru-RU" sz="2500" b="1" dirty="0" smtClean="0">
                <a:cs typeface="Arial" pitchFamily="34" charset="0"/>
              </a:rPr>
              <a:t>подрядчиком;</a:t>
            </a:r>
            <a:endParaRPr lang="ru-RU" sz="2500" b="1" dirty="0" smtClean="0">
              <a:cs typeface="Arial" pitchFamily="34" charset="0"/>
            </a:endParaRPr>
          </a:p>
          <a:p>
            <a:pPr marL="457200" indent="-45720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проведение </a:t>
            </a:r>
            <a:r>
              <a:rPr lang="ru-RU" sz="2500" b="1" dirty="0" smtClean="0">
                <a:cs typeface="Arial" pitchFamily="34" charset="0"/>
              </a:rPr>
              <a:t>работ;</a:t>
            </a:r>
            <a:endParaRPr lang="ru-RU" sz="2500" b="1" dirty="0">
              <a:cs typeface="Arial" pitchFamily="34" charset="0"/>
            </a:endParaRPr>
          </a:p>
          <a:p>
            <a:pPr marL="457200" indent="-45720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приёмка работ с составлением акта</a:t>
            </a:r>
            <a:endParaRPr lang="ru-RU" sz="2500" b="1" strike="sngStrike" dirty="0">
              <a:cs typeface="Times New Roman" pitchFamily="18" charset="0"/>
            </a:endParaRPr>
          </a:p>
          <a:p>
            <a:pPr marL="457200" indent="-45720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endParaRPr lang="ru-RU" sz="2800" b="1" dirty="0" smtClean="0">
              <a:solidFill>
                <a:srgbClr val="0070C0"/>
              </a:solidFill>
              <a:cs typeface="Arial" pitchFamily="34" charset="0"/>
            </a:endParaRPr>
          </a:p>
          <a:p>
            <a:pPr marL="285750" indent="-28575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endParaRPr lang="ru-RU" sz="2500" b="1" dirty="0" smtClean="0">
              <a:solidFill>
                <a:srgbClr val="0070C0"/>
              </a:solidFill>
              <a:cs typeface="Arial" pitchFamily="34" charset="0"/>
            </a:endParaRPr>
          </a:p>
          <a:p>
            <a:pPr marL="457200" indent="-45720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100% оплата проделанной работы </a:t>
            </a:r>
            <a:r>
              <a:rPr lang="ru-RU" sz="2500" b="1" dirty="0" smtClean="0">
                <a:cs typeface="Arial" pitchFamily="34" charset="0"/>
              </a:rPr>
              <a:t>хозяйствами;</a:t>
            </a:r>
            <a:endParaRPr lang="ru-RU" sz="2500" b="1" dirty="0" smtClean="0">
              <a:cs typeface="Arial" pitchFamily="34" charset="0"/>
            </a:endParaRPr>
          </a:p>
          <a:p>
            <a:pPr marL="457200" indent="-45720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подача заявки </a:t>
            </a:r>
            <a:r>
              <a:rPr lang="ru-RU" sz="2500" b="1" dirty="0" smtClean="0">
                <a:cs typeface="Arial" pitchFamily="34" charset="0"/>
              </a:rPr>
              <a:t>хозяйствами в УСХиП с указанием суммы </a:t>
            </a:r>
            <a:r>
              <a:rPr lang="ru-RU" sz="2500" b="1" dirty="0" smtClean="0">
                <a:cs typeface="Arial" pitchFamily="34" charset="0"/>
              </a:rPr>
              <a:t>затрат </a:t>
            </a:r>
            <a:r>
              <a:rPr lang="ru-RU" sz="2500" b="1" dirty="0" smtClean="0">
                <a:cs typeface="Arial" pitchFamily="34" charset="0"/>
              </a:rPr>
              <a:t>произведённых на мероприятия по известкованию кислых </a:t>
            </a:r>
            <a:r>
              <a:rPr lang="ru-RU" sz="2500" b="1" dirty="0" smtClean="0">
                <a:cs typeface="Arial" pitchFamily="34" charset="0"/>
              </a:rPr>
              <a:t>почв;</a:t>
            </a:r>
            <a:endParaRPr lang="ru-RU" sz="2500" b="1" dirty="0" smtClean="0">
              <a:cs typeface="Arial" pitchFamily="34" charset="0"/>
            </a:endParaRPr>
          </a:p>
          <a:p>
            <a:pPr marL="457200" indent="-45720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УСХиП </a:t>
            </a:r>
            <a:r>
              <a:rPr lang="ru-RU" sz="2500" b="1" dirty="0">
                <a:cs typeface="Arial" pitchFamily="34" charset="0"/>
              </a:rPr>
              <a:t>формирует сводную заявку и представляет в МСХиП </a:t>
            </a:r>
            <a:r>
              <a:rPr lang="ru-RU" sz="2500" b="1" dirty="0" smtClean="0">
                <a:cs typeface="Arial" pitchFamily="34" charset="0"/>
              </a:rPr>
              <a:t>РТ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327821" y="2187514"/>
            <a:ext cx="10254586" cy="4001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ru-RU" sz="2600" b="1" dirty="0" smtClean="0">
                <a:cs typeface="Arial" pitchFamily="34" charset="0"/>
              </a:rPr>
              <a:t>Проведение известкования</a:t>
            </a:r>
            <a:endParaRPr lang="ru-RU" sz="2600" b="1" dirty="0"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27819" y="4481120"/>
            <a:ext cx="10254587" cy="4001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ru-RU" sz="2600" b="1" dirty="0" smtClean="0">
                <a:cs typeface="Arial" pitchFamily="34" charset="0"/>
              </a:rPr>
              <a:t>Подача заявки на субсидирование в 2021 г. до 1 декабря 2020 г.</a:t>
            </a:r>
            <a:endParaRPr lang="ru-RU" sz="2600" b="1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24310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026023" y="5680023"/>
            <a:ext cx="295835" cy="340659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2026023" y="5235388"/>
            <a:ext cx="295835" cy="340659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22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18866" y="1116047"/>
            <a:ext cx="11373134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ОЛУЧЕНИЕ ЗАЙМА ИЗ АО «РАЦИН» </a:t>
            </a:r>
            <a:b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НА ОПЛАТУ ЗАТРАТ НА ИЗВЕСТКОВАНИЕ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904790" y="2868512"/>
            <a:ext cx="9175606" cy="32470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25400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 договор </a:t>
            </a:r>
            <a:r>
              <a:rPr lang="ru-RU" sz="2500" b="1" dirty="0">
                <a:cs typeface="Arial" pitchFamily="34" charset="0"/>
              </a:rPr>
              <a:t>займа с АО «РАЦИН</a:t>
            </a:r>
            <a:r>
              <a:rPr lang="ru-RU" sz="2500" b="1" dirty="0" smtClean="0">
                <a:cs typeface="Arial" pitchFamily="34" charset="0"/>
              </a:rPr>
              <a:t>»;</a:t>
            </a:r>
            <a:endParaRPr lang="ru-RU" sz="2500" b="1" dirty="0">
              <a:cs typeface="Arial" pitchFamily="34" charset="0"/>
            </a:endParaRPr>
          </a:p>
          <a:p>
            <a:pPr marL="342900" indent="-25400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 акт </a:t>
            </a:r>
            <a:r>
              <a:rPr lang="ru-RU" sz="2500" b="1" dirty="0">
                <a:cs typeface="Arial" pitchFamily="34" charset="0"/>
              </a:rPr>
              <a:t>приёмки </a:t>
            </a:r>
            <a:r>
              <a:rPr lang="ru-RU" sz="2500" b="1" dirty="0" smtClean="0">
                <a:cs typeface="Arial" pitchFamily="34" charset="0"/>
              </a:rPr>
              <a:t>работ;</a:t>
            </a:r>
            <a:endParaRPr lang="ru-RU" sz="2500" b="1" dirty="0">
              <a:cs typeface="Arial" pitchFamily="34" charset="0"/>
            </a:endParaRPr>
          </a:p>
          <a:p>
            <a:pPr marL="342900" indent="-254000">
              <a:buClr>
                <a:srgbClr val="006600"/>
              </a:buClr>
              <a:buFont typeface="Wingdings" pitchFamily="2" charset="2"/>
              <a:buChar char="§"/>
              <a:tabLst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 счёт </a:t>
            </a:r>
            <a:r>
              <a:rPr lang="ru-RU" sz="2500" b="1" dirty="0">
                <a:cs typeface="Arial" pitchFamily="34" charset="0"/>
              </a:rPr>
              <a:t>фактура на оплату произведённых работ </a:t>
            </a:r>
            <a:r>
              <a:rPr lang="ru-RU" sz="2500" b="1" dirty="0" smtClean="0">
                <a:cs typeface="Arial" pitchFamily="34" charset="0"/>
              </a:rPr>
              <a:t>от исполнителя</a:t>
            </a:r>
            <a:endParaRPr lang="ru-RU" sz="2500" b="1" dirty="0">
              <a:cs typeface="Arial" pitchFamily="34" charset="0"/>
            </a:endParaRPr>
          </a:p>
          <a:p>
            <a:pPr>
              <a:tabLst>
                <a:tab pos="8067675" algn="l"/>
              </a:tabLst>
            </a:pPr>
            <a:endParaRPr lang="ru-RU" sz="2500" b="1" dirty="0" smtClean="0">
              <a:cs typeface="Arial" pitchFamily="34" charset="0"/>
            </a:endParaRPr>
          </a:p>
          <a:p>
            <a:pPr>
              <a:tabLst>
                <a:tab pos="8067675" algn="l"/>
              </a:tabLst>
            </a:pPr>
            <a:endParaRPr lang="ru-RU" sz="2500" b="1" dirty="0">
              <a:cs typeface="Arial" pitchFamily="34" charset="0"/>
            </a:endParaRPr>
          </a:p>
          <a:p>
            <a:pPr>
              <a:tabLst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 </a:t>
            </a:r>
            <a:endParaRPr lang="ru-RU" sz="2500" b="1" dirty="0" smtClean="0">
              <a:cs typeface="Arial" pitchFamily="34" charset="0"/>
            </a:endParaRPr>
          </a:p>
          <a:p>
            <a:pPr>
              <a:spcAft>
                <a:spcPts val="600"/>
              </a:spcAft>
              <a:tabLst>
                <a:tab pos="358775" algn="l"/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 </a:t>
            </a:r>
            <a:r>
              <a:rPr lang="ru-RU" sz="2400" b="1" dirty="0" smtClean="0">
                <a:solidFill>
                  <a:schemeClr val="bg1"/>
                </a:solidFill>
                <a:cs typeface="Arial" pitchFamily="34" charset="0"/>
              </a:rPr>
              <a:t>1.</a:t>
            </a:r>
            <a:r>
              <a:rPr lang="ru-RU" sz="2500" b="1" dirty="0" smtClean="0">
                <a:cs typeface="Arial" pitchFamily="34" charset="0"/>
              </a:rPr>
              <a:t> </a:t>
            </a:r>
            <a:r>
              <a:rPr lang="ru-RU" sz="2500" b="1" dirty="0" smtClean="0">
                <a:cs typeface="Arial" pitchFamily="34" charset="0"/>
              </a:rPr>
              <a:t> по </a:t>
            </a:r>
            <a:r>
              <a:rPr lang="ru-RU" sz="2500" b="1" dirty="0" smtClean="0">
                <a:cs typeface="Arial" pitchFamily="34" charset="0"/>
              </a:rPr>
              <a:t>итогам вывозки извести на край поля;</a:t>
            </a:r>
          </a:p>
          <a:p>
            <a:pPr>
              <a:spcAft>
                <a:spcPts val="600"/>
              </a:spcAft>
              <a:tabLst>
                <a:tab pos="358775" algn="l"/>
                <a:tab pos="8067675" algn="l"/>
              </a:tabLst>
            </a:pPr>
            <a:r>
              <a:rPr lang="ru-RU" sz="2500" b="1" dirty="0" smtClean="0">
                <a:cs typeface="Arial" pitchFamily="34" charset="0"/>
              </a:rPr>
              <a:t> </a:t>
            </a:r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2.</a:t>
            </a:r>
            <a:r>
              <a:rPr lang="ru-RU" sz="2500" b="1" dirty="0" smtClean="0">
                <a:cs typeface="Arial" pitchFamily="34" charset="0"/>
              </a:rPr>
              <a:t> </a:t>
            </a:r>
            <a:r>
              <a:rPr lang="ru-RU" sz="2500" b="1" dirty="0" smtClean="0">
                <a:cs typeface="Arial" pitchFamily="34" charset="0"/>
              </a:rPr>
              <a:t> по </a:t>
            </a:r>
            <a:r>
              <a:rPr lang="ru-RU" sz="2500" b="1" dirty="0" smtClean="0">
                <a:cs typeface="Arial" pitchFamily="34" charset="0"/>
              </a:rPr>
              <a:t>окончании работ известкования кислых </a:t>
            </a:r>
            <a:r>
              <a:rPr lang="ru-RU" sz="2500" b="1" dirty="0" smtClean="0">
                <a:cs typeface="Arial" pitchFamily="34" charset="0"/>
              </a:rPr>
              <a:t>почв</a:t>
            </a:r>
            <a:endParaRPr lang="ru-RU" sz="2500" b="1" dirty="0" smtClean="0"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601593" y="4608649"/>
            <a:ext cx="9672186" cy="4001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ru-RU" sz="2600" b="1" dirty="0" smtClean="0">
                <a:cs typeface="Arial" pitchFamily="34" charset="0"/>
              </a:rPr>
              <a:t>Заем </a:t>
            </a:r>
            <a:r>
              <a:rPr lang="ru-RU" sz="2600" b="1" dirty="0">
                <a:cs typeface="Arial" pitchFamily="34" charset="0"/>
              </a:rPr>
              <a:t>представляется в 2 </a:t>
            </a:r>
            <a:r>
              <a:rPr lang="ru-RU" sz="2600" b="1" dirty="0" smtClean="0">
                <a:cs typeface="Arial" pitchFamily="34" charset="0"/>
              </a:rPr>
              <a:t>этапа</a:t>
            </a:r>
            <a:endParaRPr lang="ru-RU" sz="2600" b="1" dirty="0"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601591" y="2342026"/>
            <a:ext cx="9672187" cy="4001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ru-RU" sz="2600" b="1" dirty="0" smtClean="0">
                <a:cs typeface="Arial" pitchFamily="34" charset="0"/>
              </a:rPr>
              <a:t>Документы для получения займа</a:t>
            </a:r>
            <a:endParaRPr lang="ru-RU" sz="2600" b="1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1195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23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18866" y="1232592"/>
            <a:ext cx="11373134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К РАБОТЕ ПО ИЗВЕСТКОВАНИЮ </a:t>
            </a:r>
            <a:endParaRPr lang="ru-RU" sz="2600" dirty="0" smtClean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ТЕХНИКА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ДОПУСКАЕТСЯ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ТОЛЬКО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ОСЛЕ ПРИЁМКИ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208" t="7037" b="11089"/>
          <a:stretch/>
        </p:blipFill>
        <p:spPr>
          <a:xfrm>
            <a:off x="1119498" y="2303929"/>
            <a:ext cx="6939284" cy="439278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145819" y="3641098"/>
            <a:ext cx="370816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6600"/>
                </a:solidFill>
              </a:rPr>
              <a:t>До </a:t>
            </a:r>
            <a:r>
              <a:rPr lang="ru-RU" sz="2800" b="1" dirty="0" smtClean="0">
                <a:solidFill>
                  <a:srgbClr val="006600"/>
                </a:solidFill>
              </a:rPr>
              <a:t>начала </a:t>
            </a:r>
            <a:r>
              <a:rPr lang="ru-RU" sz="2800" b="1" dirty="0" smtClean="0">
                <a:solidFill>
                  <a:srgbClr val="006600"/>
                </a:solidFill>
              </a:rPr>
              <a:t>работ </a:t>
            </a:r>
            <a:r>
              <a:rPr lang="ru-RU" sz="2800" b="1" dirty="0" smtClean="0">
                <a:solidFill>
                  <a:srgbClr val="006600"/>
                </a:solidFill>
              </a:rPr>
              <a:t/>
            </a:r>
            <a:br>
              <a:rPr lang="ru-RU" sz="2800" b="1" dirty="0" smtClean="0">
                <a:solidFill>
                  <a:srgbClr val="006600"/>
                </a:solidFill>
              </a:rPr>
            </a:br>
            <a:r>
              <a:rPr lang="ru-RU" sz="2800" b="1" dirty="0" smtClean="0">
                <a:solidFill>
                  <a:srgbClr val="006600"/>
                </a:solidFill>
              </a:rPr>
              <a:t>по </a:t>
            </a:r>
            <a:r>
              <a:rPr lang="ru-RU" sz="2800" b="1" dirty="0" smtClean="0">
                <a:solidFill>
                  <a:srgbClr val="006600"/>
                </a:solidFill>
              </a:rPr>
              <a:t>известкованию обязательно провести приемку техники</a:t>
            </a:r>
            <a:endParaRPr lang="en-US" sz="2800" b="1" dirty="0">
              <a:solidFill>
                <a:srgbClr val="0066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635391" y="2560665"/>
            <a:ext cx="5894433" cy="3484798"/>
          </a:xfrm>
          <a:prstGeom prst="rect">
            <a:avLst/>
          </a:prstGeom>
          <a:solidFill>
            <a:srgbClr val="FFFFFF">
              <a:alpha val="78824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ДОПУСК</a:t>
            </a:r>
          </a:p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на проведение известкования в 2020 </a:t>
            </a:r>
            <a:r>
              <a:rPr lang="ru-RU" sz="2400" b="1" dirty="0" smtClean="0">
                <a:solidFill>
                  <a:schemeClr val="tx1"/>
                </a:solidFill>
              </a:rPr>
              <a:t>г.</a:t>
            </a:r>
            <a:endParaRPr lang="ru-RU" sz="2400" b="1" dirty="0" smtClean="0">
              <a:solidFill>
                <a:schemeClr val="tx1"/>
              </a:solidFill>
            </a:endParaRPr>
          </a:p>
          <a:p>
            <a:pPr algn="ctr"/>
            <a:endParaRPr lang="ru-RU" sz="1200" b="1" dirty="0" smtClean="0">
              <a:solidFill>
                <a:schemeClr val="tx1"/>
              </a:solidFill>
            </a:endParaRPr>
          </a:p>
          <a:p>
            <a:pPr marL="179388">
              <a:lnSpc>
                <a:spcPct val="150000"/>
              </a:lnSpc>
            </a:pPr>
            <a:r>
              <a:rPr lang="ru-RU" sz="2400" b="1" dirty="0" smtClean="0">
                <a:solidFill>
                  <a:schemeClr val="tx1"/>
                </a:solidFill>
              </a:rPr>
              <a:t>Предприятие     _____________________</a:t>
            </a:r>
            <a:endParaRPr lang="ru-RU" sz="2400" b="1" dirty="0" smtClean="0">
              <a:solidFill>
                <a:schemeClr val="tx1"/>
              </a:solidFill>
            </a:endParaRPr>
          </a:p>
          <a:p>
            <a:pPr marL="179388">
              <a:lnSpc>
                <a:spcPct val="150000"/>
              </a:lnSpc>
            </a:pPr>
            <a:r>
              <a:rPr lang="ru-RU" sz="2400" b="1" dirty="0" smtClean="0">
                <a:solidFill>
                  <a:schemeClr val="tx1"/>
                </a:solidFill>
              </a:rPr>
              <a:t>Марка </a:t>
            </a:r>
            <a:r>
              <a:rPr lang="ru-RU" sz="2400" b="1" dirty="0" smtClean="0">
                <a:solidFill>
                  <a:schemeClr val="tx1"/>
                </a:solidFill>
              </a:rPr>
              <a:t>техники _____________________</a:t>
            </a:r>
            <a:endParaRPr lang="ru-RU" sz="2400" b="1" dirty="0" smtClean="0">
              <a:solidFill>
                <a:schemeClr val="tx1"/>
              </a:solidFill>
            </a:endParaRPr>
          </a:p>
          <a:p>
            <a:pPr marL="179388">
              <a:lnSpc>
                <a:spcPct val="150000"/>
              </a:lnSpc>
            </a:pPr>
            <a:r>
              <a:rPr lang="ru-RU" sz="2400" b="1" dirty="0" smtClean="0">
                <a:solidFill>
                  <a:schemeClr val="tx1"/>
                </a:solidFill>
              </a:rPr>
              <a:t>Гос. </a:t>
            </a:r>
            <a:r>
              <a:rPr lang="ru-RU" sz="2400" b="1" dirty="0" smtClean="0">
                <a:solidFill>
                  <a:schemeClr val="tx1"/>
                </a:solidFill>
              </a:rPr>
              <a:t>номер         ______________________</a:t>
            </a:r>
            <a:endParaRPr lang="ru-RU" sz="2400" b="1" dirty="0" smtClean="0">
              <a:solidFill>
                <a:schemeClr val="tx1"/>
              </a:solidFill>
            </a:endParaRPr>
          </a:p>
          <a:p>
            <a:endParaRPr lang="ru-RU" b="1" dirty="0">
              <a:solidFill>
                <a:schemeClr val="tx1"/>
              </a:solidFill>
            </a:endParaRPr>
          </a:p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Дата___________</a:t>
            </a:r>
            <a:endParaRPr lang="ru-RU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6865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24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18866" y="1107082"/>
            <a:ext cx="11373134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ПРИЕМ ДОКУМЕНТОВ ОСУЩЕСТВЛЯЕТСЯ ПРИ НАЛИЧИИ </a:t>
            </a:r>
          </a:p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ТРЕКА В СИСТЕМЕ СПУТНИКОВОГО МОНИТОРИНГА </a:t>
            </a:r>
            <a:r>
              <a:rPr lang="en-US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WIALON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7682" y="2301846"/>
            <a:ext cx="5241367" cy="4098957"/>
          </a:xfrm>
          <a:prstGeom prst="rect">
            <a:avLst/>
          </a:prstGeom>
          <a:ln w="57150">
            <a:solidFill>
              <a:srgbClr val="008000"/>
            </a:solidFill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7738" y="2301845"/>
            <a:ext cx="5112496" cy="4098957"/>
          </a:xfrm>
          <a:prstGeom prst="rect">
            <a:avLst/>
          </a:prstGeom>
          <a:ln w="57150">
            <a:solidFill>
              <a:srgbClr val="008000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5433" y="5297647"/>
            <a:ext cx="1531601" cy="1374858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53009" y="5329580"/>
            <a:ext cx="1310992" cy="1310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779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537019" y="1159521"/>
            <a:ext cx="9417912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3733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37019" y="1159521"/>
            <a:ext cx="9417912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3733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99762" y="1073992"/>
            <a:ext cx="11392237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СОСТАВЛЯЮЩИЕ УРОЖАЯ ЗЕРНОВЫХ КУЛЬТУР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9" name="Таблица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147027"/>
              </p:ext>
            </p:extLst>
          </p:nvPr>
        </p:nvGraphicFramePr>
        <p:xfrm>
          <a:off x="986119" y="5877167"/>
          <a:ext cx="10694893" cy="518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8652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95072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62261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487552"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 dirty="0" smtClean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Межфазный</a:t>
                      </a:r>
                    </a:p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 dirty="0" smtClean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период</a:t>
                      </a:r>
                      <a:endParaRPr lang="ru-RU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7 </a:t>
                      </a:r>
                      <a:r>
                        <a:rPr lang="ru-RU" sz="1400" b="1" dirty="0" err="1" smtClean="0">
                          <a:latin typeface="+mn-lt"/>
                          <a:cs typeface="Arial" pitchFamily="34" charset="0"/>
                        </a:rPr>
                        <a:t>дн</a:t>
                      </a:r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.</a:t>
                      </a:r>
                      <a:endParaRPr lang="ru-RU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11-13 </a:t>
                      </a:r>
                      <a:r>
                        <a:rPr lang="ru-RU" sz="1400" b="1" dirty="0" err="1" smtClean="0">
                          <a:latin typeface="+mn-lt"/>
                          <a:cs typeface="Arial" pitchFamily="34" charset="0"/>
                        </a:rPr>
                        <a:t>дн</a:t>
                      </a:r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.</a:t>
                      </a:r>
                      <a:endParaRPr lang="ru-RU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9-11 </a:t>
                      </a:r>
                      <a:r>
                        <a:rPr lang="ru-RU" sz="1400" b="1" dirty="0" err="1" smtClean="0">
                          <a:latin typeface="+mn-lt"/>
                          <a:cs typeface="Arial" pitchFamily="34" charset="0"/>
                        </a:rPr>
                        <a:t>дн</a:t>
                      </a:r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.</a:t>
                      </a:r>
                      <a:endParaRPr lang="ru-RU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7-10 </a:t>
                      </a:r>
                      <a:r>
                        <a:rPr lang="ru-RU" sz="1400" b="1" dirty="0" err="1" smtClean="0">
                          <a:latin typeface="+mn-lt"/>
                          <a:cs typeface="Arial" pitchFamily="34" charset="0"/>
                        </a:rPr>
                        <a:t>дн</a:t>
                      </a:r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.</a:t>
                      </a:r>
                      <a:endParaRPr lang="ru-RU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10-12 </a:t>
                      </a:r>
                      <a:r>
                        <a:rPr lang="ru-RU" sz="1400" b="1" dirty="0" err="1" smtClean="0">
                          <a:latin typeface="+mn-lt"/>
                          <a:cs typeface="Arial" pitchFamily="34" charset="0"/>
                        </a:rPr>
                        <a:t>дн</a:t>
                      </a:r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.</a:t>
                      </a:r>
                      <a:endParaRPr lang="ru-RU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10-12 </a:t>
                      </a:r>
                      <a:r>
                        <a:rPr lang="ru-RU" sz="1400" b="1" dirty="0" err="1" smtClean="0">
                          <a:latin typeface="+mn-lt"/>
                          <a:cs typeface="Arial" pitchFamily="34" charset="0"/>
                        </a:rPr>
                        <a:t>дн</a:t>
                      </a:r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.</a:t>
                      </a:r>
                      <a:endParaRPr lang="ru-RU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20-25 </a:t>
                      </a:r>
                      <a:r>
                        <a:rPr lang="ru-RU" sz="1400" b="1" dirty="0" err="1" smtClean="0">
                          <a:latin typeface="+mn-lt"/>
                          <a:cs typeface="Arial" pitchFamily="34" charset="0"/>
                        </a:rPr>
                        <a:t>дн</a:t>
                      </a:r>
                      <a:r>
                        <a:rPr lang="ru-RU" sz="1400" b="1" dirty="0" smtClean="0">
                          <a:latin typeface="+mn-lt"/>
                          <a:cs typeface="Arial" pitchFamily="34" charset="0"/>
                        </a:rPr>
                        <a:t>.</a:t>
                      </a:r>
                      <a:endParaRPr lang="ru-RU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4" name="Скругленный прямоугольник 3"/>
          <p:cNvSpPr/>
          <p:nvPr/>
        </p:nvSpPr>
        <p:spPr>
          <a:xfrm>
            <a:off x="1174489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25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1448068" y="1817581"/>
            <a:ext cx="10246533" cy="4050438"/>
            <a:chOff x="922804" y="1590486"/>
            <a:chExt cx="11095543" cy="4386048"/>
          </a:xfrm>
        </p:grpSpPr>
        <p:sp>
          <p:nvSpPr>
            <p:cNvPr id="41" name="TextBox 40"/>
            <p:cNvSpPr txBox="1"/>
            <p:nvPr/>
          </p:nvSpPr>
          <p:spPr>
            <a:xfrm>
              <a:off x="1247286" y="1590486"/>
              <a:ext cx="1806123" cy="599901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ru-RU" b="1" dirty="0">
                  <a:cs typeface="Arial" pitchFamily="34" charset="0"/>
                </a:rPr>
                <a:t>Количество </a:t>
              </a:r>
            </a:p>
            <a:p>
              <a:pPr algn="ctr"/>
              <a:r>
                <a:rPr lang="ru-RU" b="1" dirty="0">
                  <a:cs typeface="Arial" pitchFamily="34" charset="0"/>
                </a:rPr>
                <a:t>колосьев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509697" y="1590486"/>
              <a:ext cx="1937841" cy="59990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ru-RU" b="1" dirty="0">
                  <a:cs typeface="Arial" pitchFamily="34" charset="0"/>
                </a:rPr>
                <a:t>Количество </a:t>
              </a:r>
            </a:p>
            <a:p>
              <a:pPr algn="ctr"/>
              <a:r>
                <a:rPr lang="ru-RU" b="1" dirty="0">
                  <a:cs typeface="Arial" pitchFamily="34" charset="0"/>
                </a:rPr>
                <a:t>колосков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882856" y="1590486"/>
              <a:ext cx="1967844" cy="59990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ru-RU" b="1" dirty="0">
                  <a:cs typeface="Arial" pitchFamily="34" charset="0"/>
                </a:rPr>
                <a:t>Количество </a:t>
              </a:r>
            </a:p>
            <a:p>
              <a:pPr algn="ctr"/>
              <a:r>
                <a:rPr lang="ru-RU" b="1" dirty="0">
                  <a:cs typeface="Arial" pitchFamily="34" charset="0"/>
                </a:rPr>
                <a:t>зерен в колосе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8286018" y="1590486"/>
              <a:ext cx="1735578" cy="59990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ru-RU" b="1" dirty="0">
                  <a:cs typeface="Arial" pitchFamily="34" charset="0"/>
                </a:rPr>
                <a:t>Масса </a:t>
              </a:r>
            </a:p>
            <a:p>
              <a:pPr algn="ctr"/>
              <a:r>
                <a:rPr lang="ru-RU" b="1" dirty="0">
                  <a:cs typeface="Arial" pitchFamily="34" charset="0"/>
                </a:rPr>
                <a:t>1000 семян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0502879" y="1752424"/>
              <a:ext cx="1222647" cy="36660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txBody>
            <a:bodyPr wrap="none" tIns="0" bIns="0" rtlCol="0">
              <a:spAutoFit/>
            </a:bodyPr>
            <a:lstStyle/>
            <a:p>
              <a:pPr algn="ctr"/>
              <a:r>
                <a:rPr lang="ru-RU" sz="2200" b="1" dirty="0">
                  <a:cs typeface="Arial" pitchFamily="34" charset="0"/>
                </a:rPr>
                <a:t>Урожай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067415" y="1627671"/>
              <a:ext cx="380493" cy="5332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600" b="1" dirty="0">
                  <a:cs typeface="Arial" pitchFamily="34" charset="0"/>
                </a:rPr>
                <a:t>+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454291" y="1627671"/>
              <a:ext cx="380493" cy="5332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600" b="1" dirty="0">
                  <a:cs typeface="Arial" pitchFamily="34" charset="0"/>
                </a:rPr>
                <a:t>+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7864307" y="1627671"/>
              <a:ext cx="380493" cy="5332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600" b="1" dirty="0">
                  <a:cs typeface="Arial" pitchFamily="34" charset="0"/>
                </a:rPr>
                <a:t>+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10062540" y="1627671"/>
              <a:ext cx="380493" cy="5332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600" b="1" dirty="0">
                  <a:cs typeface="Arial" pitchFamily="34" charset="0"/>
                </a:rPr>
                <a:t>=</a:t>
              </a:r>
            </a:p>
          </p:txBody>
        </p:sp>
        <p:pic>
          <p:nvPicPr>
            <p:cNvPr id="50" name="Picture 2"/>
            <p:cNvPicPr>
              <a:picLocks noChangeAspect="1" noChangeArrowheads="1"/>
            </p:cNvPicPr>
            <p:nvPr/>
          </p:nvPicPr>
          <p:blipFill rotWithShape="1">
            <a:blip r:embed="rId2" cstate="email">
              <a:clrChange>
                <a:clrFrom>
                  <a:srgbClr val="FCFBF7"/>
                </a:clrFrom>
                <a:clrTo>
                  <a:srgbClr val="FCFBF7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-1"/>
            <a:stretch/>
          </p:blipFill>
          <p:spPr>
            <a:xfrm>
              <a:off x="1583024" y="2531744"/>
              <a:ext cx="10435323" cy="3439288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cxnSp>
          <p:nvCxnSpPr>
            <p:cNvPr id="51" name="Прямая со стрелкой 50"/>
            <p:cNvCxnSpPr/>
            <p:nvPr/>
          </p:nvCxnSpPr>
          <p:spPr>
            <a:xfrm>
              <a:off x="2034023" y="2846805"/>
              <a:ext cx="2148747" cy="2166639"/>
            </a:xfrm>
            <a:prstGeom prst="straightConnector1">
              <a:avLst/>
            </a:prstGeom>
            <a:ln w="38100">
              <a:solidFill>
                <a:srgbClr val="0070C0"/>
              </a:solidFill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Прямая со стрелкой 51"/>
            <p:cNvCxnSpPr/>
            <p:nvPr/>
          </p:nvCxnSpPr>
          <p:spPr>
            <a:xfrm>
              <a:off x="4305579" y="2886888"/>
              <a:ext cx="2619795" cy="2114973"/>
            </a:xfrm>
            <a:prstGeom prst="straightConnector1">
              <a:avLst/>
            </a:prstGeom>
            <a:ln w="38100">
              <a:solidFill>
                <a:srgbClr val="0070C0"/>
              </a:solidFill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Прямая со стрелкой 52"/>
            <p:cNvCxnSpPr/>
            <p:nvPr/>
          </p:nvCxnSpPr>
          <p:spPr>
            <a:xfrm>
              <a:off x="6800686" y="2891208"/>
              <a:ext cx="2437061" cy="2122234"/>
            </a:xfrm>
            <a:prstGeom prst="straightConnector1">
              <a:avLst/>
            </a:prstGeom>
            <a:ln w="38100">
              <a:solidFill>
                <a:srgbClr val="0070C0"/>
              </a:solidFill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Прямая со стрелкой 53"/>
            <p:cNvCxnSpPr/>
            <p:nvPr/>
          </p:nvCxnSpPr>
          <p:spPr>
            <a:xfrm>
              <a:off x="9153807" y="2891208"/>
              <a:ext cx="1661098" cy="2122234"/>
            </a:xfrm>
            <a:prstGeom prst="straightConnector1">
              <a:avLst/>
            </a:prstGeom>
            <a:ln w="38100">
              <a:solidFill>
                <a:srgbClr val="0070C0"/>
              </a:solidFill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Прямая соединительная линия 59"/>
            <p:cNvCxnSpPr/>
            <p:nvPr/>
          </p:nvCxnSpPr>
          <p:spPr>
            <a:xfrm>
              <a:off x="3589145" y="5013443"/>
              <a:ext cx="1187248" cy="0"/>
            </a:xfrm>
            <a:prstGeom prst="line">
              <a:avLst/>
            </a:prstGeom>
            <a:ln w="571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Прямая соединительная линия 60"/>
            <p:cNvCxnSpPr/>
            <p:nvPr/>
          </p:nvCxnSpPr>
          <p:spPr>
            <a:xfrm>
              <a:off x="6082681" y="5013443"/>
              <a:ext cx="1746347" cy="0"/>
            </a:xfrm>
            <a:prstGeom prst="line">
              <a:avLst/>
            </a:prstGeom>
            <a:ln w="571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единительная линия 61"/>
            <p:cNvCxnSpPr/>
            <p:nvPr/>
          </p:nvCxnSpPr>
          <p:spPr>
            <a:xfrm>
              <a:off x="8642443" y="5001860"/>
              <a:ext cx="968829" cy="0"/>
            </a:xfrm>
            <a:prstGeom prst="line">
              <a:avLst/>
            </a:prstGeom>
            <a:ln w="571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единительная линия 62"/>
            <p:cNvCxnSpPr/>
            <p:nvPr/>
          </p:nvCxnSpPr>
          <p:spPr>
            <a:xfrm>
              <a:off x="10620848" y="5013443"/>
              <a:ext cx="388109" cy="0"/>
            </a:xfrm>
            <a:prstGeom prst="line">
              <a:avLst/>
            </a:prstGeom>
            <a:ln w="571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TextBox 1"/>
            <p:cNvSpPr txBox="1"/>
            <p:nvPr/>
          </p:nvSpPr>
          <p:spPr>
            <a:xfrm>
              <a:off x="1247284" y="2995171"/>
              <a:ext cx="10771062" cy="499918"/>
            </a:xfrm>
            <a:prstGeom prst="rect">
              <a:avLst/>
            </a:prstGeom>
            <a:solidFill>
              <a:srgbClr val="FFFFFF">
                <a:alpha val="74118"/>
              </a:srgb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rgbClr val="C00000"/>
                  </a:solidFill>
                  <a:cs typeface="Arial" pitchFamily="34" charset="0"/>
                </a:rPr>
                <a:t>План на 2020 год – обеспечить 11 </a:t>
              </a:r>
              <a:r>
                <a:rPr lang="ru-RU" sz="2400" b="1" dirty="0" err="1">
                  <a:solidFill>
                    <a:srgbClr val="C00000"/>
                  </a:solidFill>
                  <a:cs typeface="Arial" pitchFamily="34" charset="0"/>
                </a:rPr>
                <a:t>млн.га</a:t>
              </a:r>
              <a:r>
                <a:rPr lang="ru-RU" sz="2400" b="1" dirty="0">
                  <a:solidFill>
                    <a:srgbClr val="C00000"/>
                  </a:solidFill>
                  <a:cs typeface="Arial" pitchFamily="34" charset="0"/>
                </a:rPr>
                <a:t> условных обработок!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922804" y="4089537"/>
              <a:ext cx="1274706" cy="1886997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67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981035" y="4150047"/>
              <a:ext cx="1198067" cy="11664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600" b="1" dirty="0">
                  <a:cs typeface="Arial" pitchFamily="34" charset="0"/>
                </a:rPr>
                <a:t>Основное </a:t>
              </a:r>
            </a:p>
            <a:p>
              <a:pPr algn="ctr"/>
              <a:r>
                <a:rPr lang="ru-RU" sz="1600" b="1" dirty="0">
                  <a:cs typeface="Arial" pitchFamily="34" charset="0"/>
                </a:rPr>
                <a:t>внесение </a:t>
              </a:r>
            </a:p>
            <a:p>
              <a:pPr algn="ctr"/>
              <a:r>
                <a:rPr lang="ru-RU" sz="1600" b="1" dirty="0" err="1">
                  <a:cs typeface="Arial" pitchFamily="34" charset="0"/>
                </a:rPr>
                <a:t>удобре</a:t>
              </a:r>
              <a:r>
                <a:rPr lang="ru-RU" sz="1600" b="1" dirty="0">
                  <a:cs typeface="Arial" pitchFamily="34" charset="0"/>
                </a:rPr>
                <a:t>-</a:t>
              </a:r>
            </a:p>
            <a:p>
              <a:pPr algn="ctr"/>
              <a:r>
                <a:rPr lang="ru-RU" sz="1600" b="1" dirty="0" err="1">
                  <a:cs typeface="Arial" pitchFamily="34" charset="0"/>
                </a:rPr>
                <a:t>ний</a:t>
              </a:r>
              <a:endParaRPr lang="ru-RU" sz="1600" b="1" dirty="0">
                <a:cs typeface="Arial" pitchFamily="34" charset="0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1247285" y="2281928"/>
              <a:ext cx="1820130" cy="60496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>
                  <a:cs typeface="Arial" pitchFamily="34" charset="0"/>
                </a:rPr>
                <a:t>1 обработка:</a:t>
              </a:r>
            </a:p>
            <a:p>
              <a:pPr algn="ctr"/>
              <a:r>
                <a:rPr lang="ru-RU" b="1" dirty="0" smtClean="0">
                  <a:cs typeface="Arial" pitchFamily="34" charset="0"/>
                </a:rPr>
                <a:t>Питание + СЗР</a:t>
              </a:r>
              <a:endParaRPr lang="ru-RU" b="1" dirty="0">
                <a:cs typeface="Arial" pitchFamily="34" charset="0"/>
              </a:endParaRP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3509698" y="2286004"/>
              <a:ext cx="1937841" cy="60496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>
                  <a:cs typeface="Arial" pitchFamily="34" charset="0"/>
                </a:rPr>
                <a:t>2 обработка:</a:t>
              </a:r>
            </a:p>
            <a:p>
              <a:pPr algn="ctr"/>
              <a:r>
                <a:rPr lang="ru-RU" b="1" dirty="0" smtClean="0">
                  <a:cs typeface="Arial" pitchFamily="34" charset="0"/>
                </a:rPr>
                <a:t>Питание + СЗР</a:t>
              </a:r>
              <a:endParaRPr lang="ru-RU" b="1" dirty="0">
                <a:cs typeface="Arial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5866623" y="2286249"/>
              <a:ext cx="1973715" cy="60496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>
                  <a:cs typeface="Arial" pitchFamily="34" charset="0"/>
                </a:rPr>
                <a:t>3 обработка:</a:t>
              </a:r>
            </a:p>
            <a:p>
              <a:pPr algn="ctr"/>
              <a:r>
                <a:rPr lang="ru-RU" b="1" dirty="0" smtClean="0">
                  <a:cs typeface="Arial" pitchFamily="34" charset="0"/>
                </a:rPr>
                <a:t>Питание + СЗР</a:t>
              </a:r>
              <a:endParaRPr lang="ru-RU" b="1" dirty="0">
                <a:cs typeface="Arial" pitchFamily="34" charset="0"/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8286018" y="2285716"/>
              <a:ext cx="1735578" cy="60496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>
                  <a:cs typeface="Arial" pitchFamily="34" charset="0"/>
                </a:rPr>
                <a:t>4 обработка:</a:t>
              </a:r>
            </a:p>
            <a:p>
              <a:pPr algn="ctr"/>
              <a:r>
                <a:rPr lang="ru-RU" b="1" dirty="0" smtClean="0">
                  <a:cs typeface="Arial" pitchFamily="34" charset="0"/>
                </a:rPr>
                <a:t>Питание + СЗР</a:t>
              </a:r>
              <a:endParaRPr lang="ru-RU" b="1" dirty="0">
                <a:cs typeface="Arial" pitchFamily="34" charset="0"/>
              </a:endParaRPr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3179395" y="4606382"/>
              <a:ext cx="4829479" cy="648199"/>
            </a:xfrm>
            <a:prstGeom prst="roundRect">
              <a:avLst>
                <a:gd name="adj" fmla="val 50000"/>
              </a:avLst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</p:spTree>
    <p:extLst>
      <p:ext uri="{BB962C8B-B14F-4D97-AF65-F5344CB8AC3E}">
        <p14:creationId xmlns:p14="http://schemas.microsoft.com/office/powerpoint/2010/main" val="32663595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E:\1\D\мои документы\ДОКУМЕНТЫ\Р А З Н О Е\СЕМИНАРЫ\2018 семинар в арске по растворным узлам\2018 продпрограмма по растворным узлам\планшеты\4 аспекта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70313" y="1502784"/>
            <a:ext cx="8911452" cy="4771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 rot="19940150">
            <a:off x="3003042" y="4390220"/>
            <a:ext cx="6956343" cy="70788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Потери достигают 25%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26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46831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426764" y="1296001"/>
            <a:ext cx="7063434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77922" y="1257139"/>
            <a:ext cx="1141407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ЭФФЕКТИВНОСТЬ ПРЕПАРАТА ОТ КАЧЕСТВА ВОДЫ, %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238762" y="1980949"/>
            <a:ext cx="2981394" cy="5020483"/>
            <a:chOff x="1920149" y="1577496"/>
            <a:chExt cx="2981394" cy="5442853"/>
          </a:xfrm>
        </p:grpSpPr>
        <p:graphicFrame>
          <p:nvGraphicFramePr>
            <p:cNvPr id="13" name="Диаграмма 12"/>
            <p:cNvGraphicFramePr/>
            <p:nvPr>
              <p:extLst>
                <p:ext uri="{D42A27DB-BD31-4B8C-83A1-F6EECF244321}">
                  <p14:modId xmlns:p14="http://schemas.microsoft.com/office/powerpoint/2010/main" val="1982067224"/>
                </p:ext>
              </p:extLst>
            </p:nvPr>
          </p:nvGraphicFramePr>
          <p:xfrm>
            <a:off x="1920149" y="1577496"/>
            <a:ext cx="2981394" cy="544285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pic>
          <p:nvPicPr>
            <p:cNvPr id="14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695860" y="2014545"/>
              <a:ext cx="1086536" cy="10785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TextBox 17"/>
            <p:cNvSpPr txBox="1"/>
            <p:nvPr/>
          </p:nvSpPr>
          <p:spPr>
            <a:xfrm>
              <a:off x="2213458" y="6005373"/>
              <a:ext cx="144654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cs typeface="Arial" pitchFamily="34" charset="0"/>
                </a:rPr>
                <a:t>15-20 </a:t>
              </a:r>
              <a:r>
                <a:rPr lang="ru-RU" b="1" baseline="30000" dirty="0">
                  <a:cs typeface="Arial" pitchFamily="34" charset="0"/>
                </a:rPr>
                <a:t>0</a:t>
              </a:r>
              <a:r>
                <a:rPr lang="ru-RU" b="1" dirty="0">
                  <a:cs typeface="Arial" pitchFamily="34" charset="0"/>
                </a:rPr>
                <a:t>С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796574" y="6005373"/>
              <a:ext cx="100471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cs typeface="Arial" pitchFamily="34" charset="0"/>
                </a:rPr>
                <a:t>&lt;5 </a:t>
              </a:r>
              <a:r>
                <a:rPr lang="ru-RU" b="1" baseline="30000" dirty="0">
                  <a:cs typeface="Arial" pitchFamily="34" charset="0"/>
                </a:rPr>
                <a:t>0</a:t>
              </a:r>
              <a:r>
                <a:rPr lang="ru-RU" b="1" dirty="0">
                  <a:cs typeface="Arial" pitchFamily="34" charset="0"/>
                </a:rPr>
                <a:t>С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4877571" y="2253295"/>
            <a:ext cx="3230205" cy="4563854"/>
            <a:chOff x="4895501" y="2270642"/>
            <a:chExt cx="3230205" cy="4702726"/>
          </a:xfrm>
        </p:grpSpPr>
        <p:graphicFrame>
          <p:nvGraphicFramePr>
            <p:cNvPr id="25" name="Диаграмма 24"/>
            <p:cNvGraphicFramePr/>
            <p:nvPr>
              <p:extLst>
                <p:ext uri="{D42A27DB-BD31-4B8C-83A1-F6EECF244321}">
                  <p14:modId xmlns:p14="http://schemas.microsoft.com/office/powerpoint/2010/main" val="526935967"/>
                </p:ext>
              </p:extLst>
            </p:nvPr>
          </p:nvGraphicFramePr>
          <p:xfrm>
            <a:off x="4895501" y="2270642"/>
            <a:ext cx="3230205" cy="47027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0" name="TextBox 19"/>
            <p:cNvSpPr txBox="1"/>
            <p:nvPr/>
          </p:nvSpPr>
          <p:spPr>
            <a:xfrm>
              <a:off x="5430450" y="6171671"/>
              <a:ext cx="62549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>
                  <a:cs typeface="Arial" pitchFamily="34" charset="0"/>
                </a:rPr>
                <a:t>4 </a:t>
              </a:r>
              <a:r>
                <a:rPr lang="ru-RU" b="1" baseline="30000" dirty="0">
                  <a:cs typeface="Arial" pitchFamily="34" charset="0"/>
                </a:rPr>
                <a:t>0</a:t>
              </a:r>
              <a:r>
                <a:rPr lang="ru-RU" b="1" dirty="0">
                  <a:cs typeface="Arial" pitchFamily="34" charset="0"/>
                </a:rPr>
                <a:t>Ж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910342" y="6189601"/>
              <a:ext cx="74251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>
                  <a:cs typeface="Arial" pitchFamily="34" charset="0"/>
                </a:rPr>
                <a:t>12 </a:t>
              </a:r>
              <a:r>
                <a:rPr lang="ru-RU" b="1" baseline="30000" dirty="0">
                  <a:cs typeface="Arial" pitchFamily="34" charset="0"/>
                </a:rPr>
                <a:t>0</a:t>
              </a:r>
              <a:r>
                <a:rPr lang="ru-RU" b="1" dirty="0">
                  <a:cs typeface="Arial" pitchFamily="34" charset="0"/>
                </a:rPr>
                <a:t>Ж</a:t>
              </a:r>
            </a:p>
          </p:txBody>
        </p:sp>
        <p:pic>
          <p:nvPicPr>
            <p:cNvPr id="16" name="Picture 2"/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788146" y="2487164"/>
              <a:ext cx="1267586" cy="861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" name="Группа 3"/>
          <p:cNvGrpSpPr/>
          <p:nvPr/>
        </p:nvGrpSpPr>
        <p:grpSpPr>
          <a:xfrm>
            <a:off x="8711896" y="2067474"/>
            <a:ext cx="2948970" cy="4859071"/>
            <a:chOff x="8774651" y="2079564"/>
            <a:chExt cx="2948970" cy="5006926"/>
          </a:xfrm>
        </p:grpSpPr>
        <p:graphicFrame>
          <p:nvGraphicFramePr>
            <p:cNvPr id="26" name="Диаграмма 25"/>
            <p:cNvGraphicFramePr/>
            <p:nvPr>
              <p:extLst>
                <p:ext uri="{D42A27DB-BD31-4B8C-83A1-F6EECF244321}">
                  <p14:modId xmlns:p14="http://schemas.microsoft.com/office/powerpoint/2010/main" val="1144951370"/>
                </p:ext>
              </p:extLst>
            </p:nvPr>
          </p:nvGraphicFramePr>
          <p:xfrm>
            <a:off x="8774651" y="2191851"/>
            <a:ext cx="2932246" cy="48946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7" name="TextBox 16"/>
            <p:cNvSpPr txBox="1"/>
            <p:nvPr/>
          </p:nvSpPr>
          <p:spPr>
            <a:xfrm>
              <a:off x="9193684" y="2783376"/>
              <a:ext cx="984326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600" b="1" dirty="0">
                  <a:cs typeface="Arial" pitchFamily="34" charset="0"/>
                </a:rPr>
                <a:t>100</a:t>
              </a:r>
            </a:p>
          </p:txBody>
        </p:sp>
        <p:pic>
          <p:nvPicPr>
            <p:cNvPr id="15" name="Picture 2"/>
            <p:cNvPicPr>
              <a:picLocks noChangeAspect="1" noChangeArrowheads="1"/>
            </p:cNvPicPr>
            <p:nvPr/>
          </p:nvPicPr>
          <p:blipFill rotWithShape="1"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78769" y="2079564"/>
              <a:ext cx="1309419" cy="15035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TextBox 26"/>
            <p:cNvSpPr txBox="1"/>
            <p:nvPr/>
          </p:nvSpPr>
          <p:spPr>
            <a:xfrm>
              <a:off x="9167317" y="6193736"/>
              <a:ext cx="11719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cs typeface="Arial" pitchFamily="34" charset="0"/>
                </a:rPr>
                <a:t>4,5-5,0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551696" y="6193736"/>
              <a:ext cx="11719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cs typeface="Arial" pitchFamily="34" charset="0"/>
                </a:rPr>
                <a:t>7,5-8,0</a:t>
              </a:r>
            </a:p>
          </p:txBody>
        </p:sp>
      </p:grpSp>
      <p:sp>
        <p:nvSpPr>
          <p:cNvPr id="24" name="Скругленный прямоугольник 23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2</a:t>
            </a:r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7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2006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537019" y="981952"/>
            <a:ext cx="9417912" cy="735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3733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77922" y="951772"/>
            <a:ext cx="1141407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РАСХОД ВОДЫ НА ПЕСТИЦИДНЫЕ ОБРАБОТКИ ПО РТ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 descr="Шайтан (озеро) — Википедия"/>
          <p:cNvPicPr>
            <a:picLocks noChangeAspect="1" noChangeArrowheads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7308" y="1559410"/>
            <a:ext cx="11294692" cy="5298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319853" y="1513074"/>
            <a:ext cx="70535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tabLst>
                <a:tab pos="4927600" algn="l"/>
              </a:tabLst>
            </a:pPr>
            <a:r>
              <a:rPr lang="ru-RU" sz="2000" b="1" dirty="0" smtClean="0"/>
              <a:t>Площадь защитных мероприятий по 2019 г</a:t>
            </a:r>
            <a:r>
              <a:rPr lang="ru-RU" sz="2000" b="1" dirty="0" smtClean="0"/>
              <a:t>.	 </a:t>
            </a:r>
            <a:r>
              <a:rPr lang="ru-RU" sz="2000" b="1" dirty="0" smtClean="0"/>
              <a:t>– </a:t>
            </a:r>
            <a:r>
              <a:rPr lang="ru-RU" sz="2000" b="1" dirty="0" smtClean="0">
                <a:solidFill>
                  <a:srgbClr val="006600"/>
                </a:solidFill>
              </a:rPr>
              <a:t>4,0</a:t>
            </a:r>
            <a:r>
              <a:rPr lang="ru-RU" sz="2000" b="1" dirty="0" smtClean="0"/>
              <a:t> </a:t>
            </a:r>
            <a:r>
              <a:rPr lang="ru-RU" sz="2000" b="1" dirty="0" err="1" smtClean="0"/>
              <a:t>млн.га</a:t>
            </a:r>
            <a:endParaRPr lang="ru-RU" sz="2000" b="1" dirty="0" smtClean="0"/>
          </a:p>
          <a:p>
            <a:pPr>
              <a:tabLst>
                <a:tab pos="4927600" algn="l"/>
              </a:tabLst>
            </a:pPr>
            <a:r>
              <a:rPr lang="ru-RU" sz="2000" b="1" dirty="0" smtClean="0"/>
              <a:t>Всего потрачено воды разного </a:t>
            </a:r>
            <a:r>
              <a:rPr lang="ru-RU" sz="2000" b="1" dirty="0" smtClean="0"/>
              <a:t>качества	 </a:t>
            </a:r>
            <a:r>
              <a:rPr lang="ru-RU" sz="2000" b="1" dirty="0" smtClean="0"/>
              <a:t>– </a:t>
            </a:r>
            <a:r>
              <a:rPr lang="ru-RU" sz="2000" b="1" dirty="0" smtClean="0">
                <a:solidFill>
                  <a:srgbClr val="006600"/>
                </a:solidFill>
              </a:rPr>
              <a:t>600</a:t>
            </a:r>
            <a:r>
              <a:rPr lang="ru-RU" sz="2000" b="1" dirty="0" smtClean="0"/>
              <a:t> </a:t>
            </a:r>
            <a:r>
              <a:rPr lang="ru-RU" sz="2000" b="1" dirty="0" err="1" smtClean="0"/>
              <a:t>тыс.тн</a:t>
            </a:r>
            <a:endParaRPr lang="ru-RU" sz="2000" b="1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74489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cs typeface="Arial" panose="020B0604020202020204" pitchFamily="34" charset="0"/>
              </a:rPr>
              <a:t>28</a:t>
            </a:r>
            <a:endParaRPr lang="ru-RU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4722" y="3494819"/>
            <a:ext cx="3243349" cy="322670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6400" y="6131394"/>
            <a:ext cx="2988179" cy="52029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4988" y="2793813"/>
            <a:ext cx="3384117" cy="391944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763"/>
          <a:stretch/>
        </p:blipFill>
        <p:spPr>
          <a:xfrm>
            <a:off x="5134722" y="2793813"/>
            <a:ext cx="3243349" cy="692748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5201" y="2950280"/>
            <a:ext cx="1974787" cy="3074035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343677" y="2314107"/>
            <a:ext cx="62458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ru-RU" sz="2000" b="1" dirty="0" smtClean="0">
                <a:solidFill>
                  <a:srgbClr val="0070C0"/>
                </a:solidFill>
              </a:rPr>
              <a:t>Качество используемой воды по районам</a:t>
            </a:r>
            <a:endParaRPr lang="ru-RU" sz="20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0617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Прямоугольник 115"/>
          <p:cNvSpPr/>
          <p:nvPr/>
        </p:nvSpPr>
        <p:spPr>
          <a:xfrm>
            <a:off x="1013757" y="5151568"/>
            <a:ext cx="3701678" cy="38009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013757" y="3609869"/>
            <a:ext cx="3701678" cy="38009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29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99762" y="1228192"/>
            <a:ext cx="11392237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ЭФФЕКТИВНОСТЬ ЗАЩИТНЫХ МЕРОПРИЯТИЙ ПО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КВ АГРО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13757" y="1821255"/>
            <a:ext cx="6092181" cy="50258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3000"/>
              </a:lnSpc>
              <a:tabLst>
                <a:tab pos="1165225" algn="l"/>
              </a:tabLst>
            </a:pPr>
            <a:r>
              <a:rPr lang="ru-RU" sz="2200" b="1" dirty="0" smtClean="0"/>
              <a:t>Пашня	– </a:t>
            </a:r>
            <a:r>
              <a:rPr lang="ru-RU" sz="2200" b="1" dirty="0" smtClean="0">
                <a:solidFill>
                  <a:srgbClr val="006600"/>
                </a:solidFill>
              </a:rPr>
              <a:t>213</a:t>
            </a:r>
            <a:r>
              <a:rPr lang="ru-RU" sz="2200" b="1" dirty="0" smtClean="0"/>
              <a:t> </a:t>
            </a:r>
            <a:r>
              <a:rPr lang="ru-RU" sz="2200" b="1" dirty="0" err="1" smtClean="0"/>
              <a:t>тыс.га</a:t>
            </a:r>
            <a:endParaRPr lang="ru-RU" sz="2200" b="1" dirty="0" smtClean="0"/>
          </a:p>
          <a:p>
            <a:pPr>
              <a:lnSpc>
                <a:spcPts val="3000"/>
              </a:lnSpc>
              <a:tabLst>
                <a:tab pos="1165225" algn="l"/>
              </a:tabLst>
            </a:pPr>
            <a:r>
              <a:rPr lang="ru-RU" sz="2200" b="1" dirty="0" smtClean="0"/>
              <a:t>Посевов	– </a:t>
            </a:r>
            <a:r>
              <a:rPr lang="ru-RU" sz="2200" b="1" dirty="0" smtClean="0">
                <a:solidFill>
                  <a:srgbClr val="006600"/>
                </a:solidFill>
              </a:rPr>
              <a:t>177</a:t>
            </a:r>
            <a:r>
              <a:rPr lang="ru-RU" sz="2200" b="1" dirty="0" smtClean="0"/>
              <a:t> </a:t>
            </a:r>
            <a:r>
              <a:rPr lang="ru-RU" sz="2200" b="1" dirty="0" err="1" smtClean="0"/>
              <a:t>тыс.га</a:t>
            </a:r>
            <a:r>
              <a:rPr lang="ru-RU" sz="2200" b="1" dirty="0" smtClean="0"/>
              <a:t> </a:t>
            </a:r>
          </a:p>
          <a:p>
            <a:pPr>
              <a:lnSpc>
                <a:spcPts val="3000"/>
              </a:lnSpc>
            </a:pPr>
            <a:r>
              <a:rPr lang="ru-RU" sz="2200" b="1" dirty="0" smtClean="0"/>
              <a:t>Проведено защитных мероприятий – </a:t>
            </a:r>
            <a:r>
              <a:rPr lang="ru-RU" sz="2200" b="1" dirty="0" smtClean="0">
                <a:solidFill>
                  <a:srgbClr val="006600"/>
                </a:solidFill>
              </a:rPr>
              <a:t>300</a:t>
            </a:r>
            <a:r>
              <a:rPr lang="ru-RU" sz="2200" b="1" dirty="0" smtClean="0"/>
              <a:t> </a:t>
            </a:r>
            <a:r>
              <a:rPr lang="ru-RU" sz="2200" b="1" dirty="0" err="1" smtClean="0"/>
              <a:t>тыс.га</a:t>
            </a:r>
            <a:endParaRPr lang="ru-RU" sz="2200" b="1" dirty="0" smtClean="0"/>
          </a:p>
          <a:p>
            <a:pPr>
              <a:lnSpc>
                <a:spcPts val="3000"/>
              </a:lnSpc>
            </a:pPr>
            <a:r>
              <a:rPr lang="ru-RU" sz="2200" b="1" dirty="0" smtClean="0"/>
              <a:t>Расход воды </a:t>
            </a:r>
            <a:r>
              <a:rPr lang="ru-RU" sz="2200" b="1" i="1" dirty="0" smtClean="0"/>
              <a:t>(из расчета 150 л/га) </a:t>
            </a:r>
            <a:r>
              <a:rPr lang="ru-RU" sz="2200" b="1" dirty="0" smtClean="0"/>
              <a:t>– 45 </a:t>
            </a:r>
            <a:r>
              <a:rPr lang="ru-RU" sz="2200" b="1" dirty="0" err="1" smtClean="0"/>
              <a:t>тыс.тн</a:t>
            </a:r>
            <a:endParaRPr lang="ru-RU" sz="2200" b="1" dirty="0" smtClean="0"/>
          </a:p>
          <a:p>
            <a:endParaRPr lang="ru-RU" sz="1400" b="1" dirty="0" smtClean="0"/>
          </a:p>
          <a:p>
            <a:pPr>
              <a:lnSpc>
                <a:spcPts val="3000"/>
              </a:lnSpc>
            </a:pPr>
            <a:r>
              <a:rPr lang="ru-RU" sz="2200" b="1" dirty="0" smtClean="0"/>
              <a:t>рН </a:t>
            </a:r>
            <a:r>
              <a:rPr lang="ru-RU" sz="2200" b="1" dirty="0" smtClean="0"/>
              <a:t>воды в данных районах:</a:t>
            </a:r>
          </a:p>
          <a:p>
            <a:pPr>
              <a:lnSpc>
                <a:spcPts val="3000"/>
              </a:lnSpc>
              <a:tabLst>
                <a:tab pos="447675" algn="l"/>
                <a:tab pos="2330450" algn="l"/>
              </a:tabLst>
            </a:pPr>
            <a:r>
              <a:rPr lang="ru-RU" sz="2200" b="1" dirty="0"/>
              <a:t>	</a:t>
            </a:r>
            <a:r>
              <a:rPr lang="ru-RU" sz="2200" b="1" dirty="0" err="1" smtClean="0"/>
              <a:t>Алькеевский</a:t>
            </a:r>
            <a:r>
              <a:rPr lang="ru-RU" sz="2200" b="1" dirty="0" smtClean="0"/>
              <a:t>	 –   </a:t>
            </a:r>
            <a:r>
              <a:rPr lang="ru-RU" sz="2200" b="1" dirty="0" smtClean="0"/>
              <a:t>7,4</a:t>
            </a:r>
          </a:p>
          <a:p>
            <a:pPr>
              <a:lnSpc>
                <a:spcPts val="3000"/>
              </a:lnSpc>
              <a:tabLst>
                <a:tab pos="447675" algn="l"/>
                <a:tab pos="2330450" algn="l"/>
              </a:tabLst>
            </a:pPr>
            <a:r>
              <a:rPr lang="ru-RU" sz="2200" b="1" dirty="0"/>
              <a:t>	</a:t>
            </a:r>
            <a:r>
              <a:rPr lang="ru-RU" sz="2200" b="1" dirty="0" smtClean="0"/>
              <a:t>Алексеевский	 –   </a:t>
            </a:r>
            <a:r>
              <a:rPr lang="ru-RU" sz="2200" b="1" dirty="0" smtClean="0"/>
              <a:t>6,5</a:t>
            </a:r>
          </a:p>
          <a:p>
            <a:pPr>
              <a:lnSpc>
                <a:spcPts val="3000"/>
              </a:lnSpc>
              <a:tabLst>
                <a:tab pos="447675" algn="l"/>
                <a:tab pos="2330450" algn="l"/>
              </a:tabLst>
            </a:pPr>
            <a:r>
              <a:rPr lang="ru-RU" sz="2200" b="1" dirty="0" smtClean="0"/>
              <a:t>	</a:t>
            </a:r>
            <a:r>
              <a:rPr lang="ru-RU" sz="2200" b="1" dirty="0" smtClean="0"/>
              <a:t>Спасский	 </a:t>
            </a:r>
            <a:r>
              <a:rPr lang="ru-RU" sz="2200" b="1" dirty="0" smtClean="0"/>
              <a:t>– </a:t>
            </a:r>
            <a:r>
              <a:rPr lang="ru-RU" sz="2200" b="1" dirty="0" smtClean="0"/>
              <a:t>  7,6</a:t>
            </a:r>
            <a:endParaRPr lang="ru-RU" sz="2200" b="1" dirty="0" smtClean="0"/>
          </a:p>
          <a:p>
            <a:pPr>
              <a:lnSpc>
                <a:spcPts val="3000"/>
              </a:lnSpc>
            </a:pPr>
            <a:r>
              <a:rPr lang="ru-RU" sz="2200" b="1" dirty="0" smtClean="0"/>
              <a:t>Жесткость:</a:t>
            </a:r>
          </a:p>
          <a:p>
            <a:pPr>
              <a:lnSpc>
                <a:spcPts val="3000"/>
              </a:lnSpc>
              <a:tabLst>
                <a:tab pos="447675" algn="l"/>
                <a:tab pos="2420938" algn="l"/>
              </a:tabLst>
            </a:pPr>
            <a:r>
              <a:rPr lang="ru-RU" sz="2200" b="1" dirty="0"/>
              <a:t>	</a:t>
            </a:r>
            <a:r>
              <a:rPr lang="ru-RU" sz="2200" b="1" dirty="0" err="1" smtClean="0"/>
              <a:t>Алькеевский</a:t>
            </a:r>
            <a:r>
              <a:rPr lang="ru-RU" sz="2200" b="1" dirty="0" smtClean="0"/>
              <a:t>	– 12,0 </a:t>
            </a:r>
            <a:endParaRPr lang="ru-RU" sz="2200" b="1" dirty="0"/>
          </a:p>
          <a:p>
            <a:pPr>
              <a:lnSpc>
                <a:spcPts val="3000"/>
              </a:lnSpc>
              <a:tabLst>
                <a:tab pos="447675" algn="l"/>
                <a:tab pos="2420938" algn="l"/>
              </a:tabLst>
            </a:pPr>
            <a:r>
              <a:rPr lang="ru-RU" sz="2200" b="1" dirty="0"/>
              <a:t>	</a:t>
            </a:r>
            <a:r>
              <a:rPr lang="ru-RU" sz="2200" b="1" dirty="0" smtClean="0"/>
              <a:t>Алексеевский	–   9,8  </a:t>
            </a:r>
            <a:endParaRPr lang="ru-RU" sz="2200" b="1" dirty="0"/>
          </a:p>
          <a:p>
            <a:pPr>
              <a:lnSpc>
                <a:spcPts val="3000"/>
              </a:lnSpc>
              <a:tabLst>
                <a:tab pos="447675" algn="l"/>
                <a:tab pos="2420938" algn="l"/>
              </a:tabLst>
            </a:pPr>
            <a:r>
              <a:rPr lang="ru-RU" sz="2200" b="1" dirty="0"/>
              <a:t>	</a:t>
            </a:r>
            <a:r>
              <a:rPr lang="ru-RU" sz="2200" b="1" dirty="0" smtClean="0"/>
              <a:t>Спасский	– 12,0 </a:t>
            </a:r>
            <a:endParaRPr lang="ru-RU" sz="22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7620543" y="1943752"/>
            <a:ext cx="4114242" cy="4616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/>
              <a:t>Стоимость пестицидов – </a:t>
            </a:r>
            <a:r>
              <a:rPr lang="ru-RU" sz="2400" b="1" dirty="0" smtClean="0">
                <a:solidFill>
                  <a:srgbClr val="006600"/>
                </a:solidFill>
              </a:rPr>
              <a:t>296</a:t>
            </a:r>
            <a:r>
              <a:rPr lang="ru-RU" sz="2000" b="1" dirty="0" smtClean="0"/>
              <a:t> </a:t>
            </a:r>
            <a:r>
              <a:rPr lang="ru-RU" sz="2000" b="1" dirty="0" smtClean="0"/>
              <a:t>млн Р</a:t>
            </a:r>
            <a:endParaRPr lang="ru-RU" sz="2000" b="1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6081250" y="3317950"/>
            <a:ext cx="5977843" cy="3422718"/>
            <a:chOff x="5973670" y="3317950"/>
            <a:chExt cx="5977843" cy="3422718"/>
          </a:xfrm>
        </p:grpSpPr>
        <p:grpSp>
          <p:nvGrpSpPr>
            <p:cNvPr id="8" name="Группа 7"/>
            <p:cNvGrpSpPr/>
            <p:nvPr/>
          </p:nvGrpSpPr>
          <p:grpSpPr>
            <a:xfrm>
              <a:off x="5973670" y="3317950"/>
              <a:ext cx="5977843" cy="3422718"/>
              <a:chOff x="-102600" y="1053432"/>
              <a:chExt cx="9282472" cy="5579779"/>
            </a:xfrm>
          </p:grpSpPr>
          <p:sp>
            <p:nvSpPr>
              <p:cNvPr id="9" name="Freeform 17"/>
              <p:cNvSpPr>
                <a:spLocks/>
              </p:cNvSpPr>
              <p:nvPr/>
            </p:nvSpPr>
            <p:spPr bwMode="auto">
              <a:xfrm>
                <a:off x="7180471" y="4603229"/>
                <a:ext cx="260354" cy="123226"/>
              </a:xfrm>
              <a:custGeom>
                <a:avLst/>
                <a:gdLst>
                  <a:gd name="T0" fmla="*/ 2147483647 w 194"/>
                  <a:gd name="T1" fmla="*/ 2147483647 h 101"/>
                  <a:gd name="T2" fmla="*/ 2147483647 w 194"/>
                  <a:gd name="T3" fmla="*/ 2147483647 h 101"/>
                  <a:gd name="T4" fmla="*/ 2147483647 w 194"/>
                  <a:gd name="T5" fmla="*/ 2147483647 h 101"/>
                  <a:gd name="T6" fmla="*/ 2147483647 w 194"/>
                  <a:gd name="T7" fmla="*/ 2147483647 h 101"/>
                  <a:gd name="T8" fmla="*/ 0 w 194"/>
                  <a:gd name="T9" fmla="*/ 2147483647 h 101"/>
                  <a:gd name="T10" fmla="*/ 0 w 194"/>
                  <a:gd name="T11" fmla="*/ 2147483647 h 101"/>
                  <a:gd name="T12" fmla="*/ 0 w 194"/>
                  <a:gd name="T13" fmla="*/ 2147483647 h 101"/>
                  <a:gd name="T14" fmla="*/ 2147483647 w 194"/>
                  <a:gd name="T15" fmla="*/ 2147483647 h 101"/>
                  <a:gd name="T16" fmla="*/ 2147483647 w 194"/>
                  <a:gd name="T17" fmla="*/ 2147483647 h 101"/>
                  <a:gd name="T18" fmla="*/ 2147483647 w 194"/>
                  <a:gd name="T19" fmla="*/ 2147483647 h 101"/>
                  <a:gd name="T20" fmla="*/ 2147483647 w 194"/>
                  <a:gd name="T21" fmla="*/ 2147483647 h 101"/>
                  <a:gd name="T22" fmla="*/ 2147483647 w 194"/>
                  <a:gd name="T23" fmla="*/ 2147483647 h 101"/>
                  <a:gd name="T24" fmla="*/ 2147483647 w 194"/>
                  <a:gd name="T25" fmla="*/ 0 h 101"/>
                  <a:gd name="T26" fmla="*/ 2147483647 w 194"/>
                  <a:gd name="T27" fmla="*/ 0 h 101"/>
                  <a:gd name="T28" fmla="*/ 2147483647 w 194"/>
                  <a:gd name="T29" fmla="*/ 0 h 101"/>
                  <a:gd name="T30" fmla="*/ 2147483647 w 194"/>
                  <a:gd name="T31" fmla="*/ 2147483647 h 101"/>
                  <a:gd name="T32" fmla="*/ 2147483647 w 194"/>
                  <a:gd name="T33" fmla="*/ 2147483647 h 101"/>
                  <a:gd name="T34" fmla="*/ 2147483647 w 194"/>
                  <a:gd name="T35" fmla="*/ 2147483647 h 101"/>
                  <a:gd name="T36" fmla="*/ 2147483647 w 194"/>
                  <a:gd name="T37" fmla="*/ 2147483647 h 101"/>
                  <a:gd name="T38" fmla="*/ 2147483647 w 194"/>
                  <a:gd name="T39" fmla="*/ 2147483647 h 101"/>
                  <a:gd name="T40" fmla="*/ 2147483647 w 194"/>
                  <a:gd name="T41" fmla="*/ 2147483647 h 101"/>
                  <a:gd name="T42" fmla="*/ 2147483647 w 194"/>
                  <a:gd name="T43" fmla="*/ 2147483647 h 101"/>
                  <a:gd name="T44" fmla="*/ 2147483647 w 194"/>
                  <a:gd name="T45" fmla="*/ 2147483647 h 101"/>
                  <a:gd name="T46" fmla="*/ 2147483647 w 194"/>
                  <a:gd name="T47" fmla="*/ 2147483647 h 101"/>
                  <a:gd name="T48" fmla="*/ 2147483647 w 194"/>
                  <a:gd name="T49" fmla="*/ 2147483647 h 101"/>
                  <a:gd name="T50" fmla="*/ 2147483647 w 194"/>
                  <a:gd name="T51" fmla="*/ 2147483647 h 101"/>
                  <a:gd name="T52" fmla="*/ 2147483647 w 194"/>
                  <a:gd name="T53" fmla="*/ 2147483647 h 10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94"/>
                  <a:gd name="T82" fmla="*/ 0 h 101"/>
                  <a:gd name="T83" fmla="*/ 194 w 194"/>
                  <a:gd name="T84" fmla="*/ 101 h 10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94" h="101">
                    <a:moveTo>
                      <a:pt x="73" y="101"/>
                    </a:moveTo>
                    <a:lnTo>
                      <a:pt x="32" y="81"/>
                    </a:lnTo>
                    <a:lnTo>
                      <a:pt x="20" y="73"/>
                    </a:lnTo>
                    <a:lnTo>
                      <a:pt x="8" y="73"/>
                    </a:lnTo>
                    <a:lnTo>
                      <a:pt x="0" y="65"/>
                    </a:lnTo>
                    <a:lnTo>
                      <a:pt x="0" y="61"/>
                    </a:lnTo>
                    <a:lnTo>
                      <a:pt x="0" y="53"/>
                    </a:lnTo>
                    <a:lnTo>
                      <a:pt x="24" y="41"/>
                    </a:lnTo>
                    <a:lnTo>
                      <a:pt x="40" y="24"/>
                    </a:lnTo>
                    <a:lnTo>
                      <a:pt x="52" y="24"/>
                    </a:lnTo>
                    <a:lnTo>
                      <a:pt x="60" y="24"/>
                    </a:lnTo>
                    <a:lnTo>
                      <a:pt x="73" y="8"/>
                    </a:lnTo>
                    <a:lnTo>
                      <a:pt x="81" y="0"/>
                    </a:lnTo>
                    <a:lnTo>
                      <a:pt x="93" y="0"/>
                    </a:lnTo>
                    <a:lnTo>
                      <a:pt x="113" y="0"/>
                    </a:lnTo>
                    <a:lnTo>
                      <a:pt x="125" y="4"/>
                    </a:lnTo>
                    <a:lnTo>
                      <a:pt x="137" y="8"/>
                    </a:lnTo>
                    <a:lnTo>
                      <a:pt x="161" y="24"/>
                    </a:lnTo>
                    <a:lnTo>
                      <a:pt x="173" y="41"/>
                    </a:lnTo>
                    <a:lnTo>
                      <a:pt x="186" y="41"/>
                    </a:lnTo>
                    <a:lnTo>
                      <a:pt x="194" y="45"/>
                    </a:lnTo>
                    <a:lnTo>
                      <a:pt x="161" y="77"/>
                    </a:lnTo>
                    <a:lnTo>
                      <a:pt x="125" y="97"/>
                    </a:lnTo>
                    <a:lnTo>
                      <a:pt x="121" y="97"/>
                    </a:lnTo>
                    <a:lnTo>
                      <a:pt x="113" y="101"/>
                    </a:lnTo>
                    <a:lnTo>
                      <a:pt x="93" y="101"/>
                    </a:lnTo>
                    <a:lnTo>
                      <a:pt x="73" y="101"/>
                    </a:lnTo>
                    <a:close/>
                  </a:path>
                </a:pathLst>
              </a:custGeom>
              <a:solidFill>
                <a:srgbClr val="00CCFF"/>
              </a:solidFill>
              <a:ln w="38100">
                <a:solidFill>
                  <a:srgbClr val="00CCFF"/>
                </a:solidFill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10" name="Freeform 19"/>
              <p:cNvSpPr>
                <a:spLocks/>
              </p:cNvSpPr>
              <p:nvPr/>
            </p:nvSpPr>
            <p:spPr bwMode="auto">
              <a:xfrm>
                <a:off x="270449" y="4679434"/>
                <a:ext cx="1001713" cy="818803"/>
              </a:xfrm>
              <a:custGeom>
                <a:avLst/>
                <a:gdLst>
                  <a:gd name="T0" fmla="*/ 453605953 w 1114"/>
                  <a:gd name="T1" fmla="*/ 447250397 h 920"/>
                  <a:gd name="T2" fmla="*/ 469777227 w 1114"/>
                  <a:gd name="T3" fmla="*/ 419913715 h 920"/>
                  <a:gd name="T4" fmla="*/ 485948612 w 1114"/>
                  <a:gd name="T5" fmla="*/ 370556761 h 920"/>
                  <a:gd name="T6" fmla="*/ 492417482 w 1114"/>
                  <a:gd name="T7" fmla="*/ 321959667 h 920"/>
                  <a:gd name="T8" fmla="*/ 525568412 w 1114"/>
                  <a:gd name="T9" fmla="*/ 287789468 h 920"/>
                  <a:gd name="T10" fmla="*/ 596722376 w 1114"/>
                  <a:gd name="T11" fmla="*/ 306772912 h 920"/>
                  <a:gd name="T12" fmla="*/ 639576610 w 1114"/>
                  <a:gd name="T13" fmla="*/ 334108723 h 920"/>
                  <a:gd name="T14" fmla="*/ 616936467 w 1114"/>
                  <a:gd name="T15" fmla="*/ 364482233 h 920"/>
                  <a:gd name="T16" fmla="*/ 590254406 w 1114"/>
                  <a:gd name="T17" fmla="*/ 413839187 h 920"/>
                  <a:gd name="T18" fmla="*/ 610468498 w 1114"/>
                  <a:gd name="T19" fmla="*/ 468511789 h 920"/>
                  <a:gd name="T20" fmla="*/ 658982318 w 1114"/>
                  <a:gd name="T21" fmla="*/ 459399562 h 920"/>
                  <a:gd name="T22" fmla="*/ 691324865 w 1114"/>
                  <a:gd name="T23" fmla="*/ 471548617 h 920"/>
                  <a:gd name="T24" fmla="*/ 721242261 w 1114"/>
                  <a:gd name="T25" fmla="*/ 484457533 h 920"/>
                  <a:gd name="T26" fmla="*/ 721242261 w 1114"/>
                  <a:gd name="T27" fmla="*/ 438138170 h 920"/>
                  <a:gd name="T28" fmla="*/ 724475796 w 1114"/>
                  <a:gd name="T29" fmla="*/ 373594460 h 920"/>
                  <a:gd name="T30" fmla="*/ 747115939 w 1114"/>
                  <a:gd name="T31" fmla="*/ 324996495 h 920"/>
                  <a:gd name="T32" fmla="*/ 789161789 w 1114"/>
                  <a:gd name="T33" fmla="*/ 334108723 h 920"/>
                  <a:gd name="T34" fmla="*/ 832016024 w 1114"/>
                  <a:gd name="T35" fmla="*/ 334108723 h 920"/>
                  <a:gd name="T36" fmla="*/ 867593005 w 1114"/>
                  <a:gd name="T37" fmla="*/ 352333177 h 920"/>
                  <a:gd name="T38" fmla="*/ 900743936 w 1114"/>
                  <a:gd name="T39" fmla="*/ 306772912 h 920"/>
                  <a:gd name="T40" fmla="*/ 883764279 w 1114"/>
                  <a:gd name="T41" fmla="*/ 269565013 h 920"/>
                  <a:gd name="T42" fmla="*/ 838483994 w 1114"/>
                  <a:gd name="T43" fmla="*/ 198946721 h 920"/>
                  <a:gd name="T44" fmla="*/ 799672578 w 1114"/>
                  <a:gd name="T45" fmla="*/ 208058949 h 920"/>
                  <a:gd name="T46" fmla="*/ 724475796 w 1114"/>
                  <a:gd name="T47" fmla="*/ 186796794 h 920"/>
                  <a:gd name="T48" fmla="*/ 681622461 w 1114"/>
                  <a:gd name="T49" fmla="*/ 162498683 h 920"/>
                  <a:gd name="T50" fmla="*/ 633107741 w 1114"/>
                  <a:gd name="T51" fmla="*/ 183759966 h 920"/>
                  <a:gd name="T52" fmla="*/ 548208555 w 1114"/>
                  <a:gd name="T53" fmla="*/ 177685439 h 920"/>
                  <a:gd name="T54" fmla="*/ 557911859 w 1114"/>
                  <a:gd name="T55" fmla="*/ 141236529 h 920"/>
                  <a:gd name="T56" fmla="*/ 548208555 w 1114"/>
                  <a:gd name="T57" fmla="*/ 94917247 h 920"/>
                  <a:gd name="T58" fmla="*/ 528802847 w 1114"/>
                  <a:gd name="T59" fmla="*/ 24298989 h 920"/>
                  <a:gd name="T60" fmla="*/ 508588755 w 1114"/>
                  <a:gd name="T61" fmla="*/ 30373524 h 920"/>
                  <a:gd name="T62" fmla="*/ 528802847 w 1114"/>
                  <a:gd name="T63" fmla="*/ 85805020 h 920"/>
                  <a:gd name="T64" fmla="*/ 535271716 w 1114"/>
                  <a:gd name="T65" fmla="*/ 125290785 h 920"/>
                  <a:gd name="T66" fmla="*/ 512631573 w 1114"/>
                  <a:gd name="T67" fmla="*/ 153386456 h 920"/>
                  <a:gd name="T68" fmla="*/ 479480643 w 1114"/>
                  <a:gd name="T69" fmla="*/ 119216257 h 920"/>
                  <a:gd name="T70" fmla="*/ 434200245 w 1114"/>
                  <a:gd name="T71" fmla="*/ 88842719 h 920"/>
                  <a:gd name="T72" fmla="*/ 388112475 w 1114"/>
                  <a:gd name="T73" fmla="*/ 113141702 h 920"/>
                  <a:gd name="T74" fmla="*/ 316150128 w 1114"/>
                  <a:gd name="T75" fmla="*/ 104029474 h 920"/>
                  <a:gd name="T76" fmla="*/ 225590401 w 1114"/>
                  <a:gd name="T77" fmla="*/ 85805020 h 920"/>
                  <a:gd name="T78" fmla="*/ 189205035 w 1114"/>
                  <a:gd name="T79" fmla="*/ 43282440 h 920"/>
                  <a:gd name="T80" fmla="*/ 153628054 w 1114"/>
                  <a:gd name="T81" fmla="*/ 46319268 h 920"/>
                  <a:gd name="T82" fmla="*/ 173033762 w 1114"/>
                  <a:gd name="T83" fmla="*/ 113141702 h 920"/>
                  <a:gd name="T84" fmla="*/ 94602518 w 1114"/>
                  <a:gd name="T85" fmla="*/ 132125173 h 920"/>
                  <a:gd name="T86" fmla="*/ 104304922 w 1114"/>
                  <a:gd name="T87" fmla="*/ 180722267 h 920"/>
                  <a:gd name="T88" fmla="*/ 114008226 w 1114"/>
                  <a:gd name="T89" fmla="*/ 242229202 h 920"/>
                  <a:gd name="T90" fmla="*/ 52556653 w 1114"/>
                  <a:gd name="T91" fmla="*/ 275639541 h 920"/>
                  <a:gd name="T92" fmla="*/ 0 w 1114"/>
                  <a:gd name="T93" fmla="*/ 306772912 h 920"/>
                  <a:gd name="T94" fmla="*/ 12936842 w 1114"/>
                  <a:gd name="T95" fmla="*/ 349295478 h 920"/>
                  <a:gd name="T96" fmla="*/ 46088683 w 1114"/>
                  <a:gd name="T97" fmla="*/ 340183250 h 920"/>
                  <a:gd name="T98" fmla="*/ 104304922 w 1114"/>
                  <a:gd name="T99" fmla="*/ 315884268 h 920"/>
                  <a:gd name="T100" fmla="*/ 120476224 w 1114"/>
                  <a:gd name="T101" fmla="*/ 361444533 h 920"/>
                  <a:gd name="T102" fmla="*/ 143924750 w 1114"/>
                  <a:gd name="T103" fmla="*/ 425988243 h 920"/>
                  <a:gd name="T104" fmla="*/ 101070488 w 1114"/>
                  <a:gd name="T105" fmla="*/ 465474090 h 920"/>
                  <a:gd name="T106" fmla="*/ 68727941 w 1114"/>
                  <a:gd name="T107" fmla="*/ 514831044 h 920"/>
                  <a:gd name="T108" fmla="*/ 88133649 w 1114"/>
                  <a:gd name="T109" fmla="*/ 573300226 h 920"/>
                  <a:gd name="T110" fmla="*/ 88133649 w 1114"/>
                  <a:gd name="T111" fmla="*/ 627972718 h 920"/>
                  <a:gd name="T112" fmla="*/ 114008226 w 1114"/>
                  <a:gd name="T113" fmla="*/ 698590956 h 920"/>
                  <a:gd name="T114" fmla="*/ 156862488 w 1114"/>
                  <a:gd name="T115" fmla="*/ 606711435 h 920"/>
                  <a:gd name="T116" fmla="*/ 189205035 w 1114"/>
                  <a:gd name="T117" fmla="*/ 582412453 h 920"/>
                  <a:gd name="T118" fmla="*/ 235292805 w 1114"/>
                  <a:gd name="T119" fmla="*/ 600636036 h 920"/>
                  <a:gd name="T120" fmla="*/ 336364220 w 1114"/>
                  <a:gd name="T121" fmla="*/ 612785963 h 920"/>
                  <a:gd name="T122" fmla="*/ 381643606 w 1114"/>
                  <a:gd name="T123" fmla="*/ 545204554 h 920"/>
                  <a:gd name="T124" fmla="*/ 421263406 w 1114"/>
                  <a:gd name="T125" fmla="*/ 471548617 h 92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114"/>
                  <a:gd name="T190" fmla="*/ 0 h 920"/>
                  <a:gd name="T191" fmla="*/ 1114 w 1114"/>
                  <a:gd name="T192" fmla="*/ 920 h 92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114" h="920">
                    <a:moveTo>
                      <a:pt x="521" y="621"/>
                    </a:moveTo>
                    <a:lnTo>
                      <a:pt x="533" y="617"/>
                    </a:lnTo>
                    <a:lnTo>
                      <a:pt x="541" y="613"/>
                    </a:lnTo>
                    <a:lnTo>
                      <a:pt x="545" y="605"/>
                    </a:lnTo>
                    <a:lnTo>
                      <a:pt x="561" y="589"/>
                    </a:lnTo>
                    <a:lnTo>
                      <a:pt x="565" y="585"/>
                    </a:lnTo>
                    <a:lnTo>
                      <a:pt x="573" y="581"/>
                    </a:lnTo>
                    <a:lnTo>
                      <a:pt x="573" y="573"/>
                    </a:lnTo>
                    <a:lnTo>
                      <a:pt x="577" y="565"/>
                    </a:lnTo>
                    <a:lnTo>
                      <a:pt x="581" y="553"/>
                    </a:lnTo>
                    <a:lnTo>
                      <a:pt x="585" y="541"/>
                    </a:lnTo>
                    <a:lnTo>
                      <a:pt x="593" y="529"/>
                    </a:lnTo>
                    <a:lnTo>
                      <a:pt x="593" y="512"/>
                    </a:lnTo>
                    <a:lnTo>
                      <a:pt x="597" y="500"/>
                    </a:lnTo>
                    <a:lnTo>
                      <a:pt x="601" y="488"/>
                    </a:lnTo>
                    <a:lnTo>
                      <a:pt x="601" y="480"/>
                    </a:lnTo>
                    <a:lnTo>
                      <a:pt x="601" y="464"/>
                    </a:lnTo>
                    <a:lnTo>
                      <a:pt x="609" y="460"/>
                    </a:lnTo>
                    <a:lnTo>
                      <a:pt x="613" y="456"/>
                    </a:lnTo>
                    <a:lnTo>
                      <a:pt x="609" y="424"/>
                    </a:lnTo>
                    <a:lnTo>
                      <a:pt x="609" y="391"/>
                    </a:lnTo>
                    <a:lnTo>
                      <a:pt x="621" y="383"/>
                    </a:lnTo>
                    <a:lnTo>
                      <a:pt x="629" y="379"/>
                    </a:lnTo>
                    <a:lnTo>
                      <a:pt x="638" y="379"/>
                    </a:lnTo>
                    <a:lnTo>
                      <a:pt x="650" y="379"/>
                    </a:lnTo>
                    <a:lnTo>
                      <a:pt x="654" y="379"/>
                    </a:lnTo>
                    <a:lnTo>
                      <a:pt x="658" y="383"/>
                    </a:lnTo>
                    <a:lnTo>
                      <a:pt x="686" y="387"/>
                    </a:lnTo>
                    <a:lnTo>
                      <a:pt x="718" y="391"/>
                    </a:lnTo>
                    <a:lnTo>
                      <a:pt x="738" y="404"/>
                    </a:lnTo>
                    <a:lnTo>
                      <a:pt x="779" y="412"/>
                    </a:lnTo>
                    <a:lnTo>
                      <a:pt x="779" y="416"/>
                    </a:lnTo>
                    <a:lnTo>
                      <a:pt x="783" y="420"/>
                    </a:lnTo>
                    <a:lnTo>
                      <a:pt x="783" y="428"/>
                    </a:lnTo>
                    <a:lnTo>
                      <a:pt x="791" y="440"/>
                    </a:lnTo>
                    <a:lnTo>
                      <a:pt x="779" y="452"/>
                    </a:lnTo>
                    <a:lnTo>
                      <a:pt x="771" y="460"/>
                    </a:lnTo>
                    <a:lnTo>
                      <a:pt x="771" y="464"/>
                    </a:lnTo>
                    <a:lnTo>
                      <a:pt x="767" y="468"/>
                    </a:lnTo>
                    <a:lnTo>
                      <a:pt x="763" y="480"/>
                    </a:lnTo>
                    <a:lnTo>
                      <a:pt x="755" y="480"/>
                    </a:lnTo>
                    <a:lnTo>
                      <a:pt x="738" y="500"/>
                    </a:lnTo>
                    <a:lnTo>
                      <a:pt x="730" y="516"/>
                    </a:lnTo>
                    <a:lnTo>
                      <a:pt x="730" y="533"/>
                    </a:lnTo>
                    <a:lnTo>
                      <a:pt x="730" y="545"/>
                    </a:lnTo>
                    <a:lnTo>
                      <a:pt x="734" y="561"/>
                    </a:lnTo>
                    <a:lnTo>
                      <a:pt x="738" y="573"/>
                    </a:lnTo>
                    <a:lnTo>
                      <a:pt x="742" y="593"/>
                    </a:lnTo>
                    <a:lnTo>
                      <a:pt x="751" y="613"/>
                    </a:lnTo>
                    <a:lnTo>
                      <a:pt x="755" y="617"/>
                    </a:lnTo>
                    <a:lnTo>
                      <a:pt x="759" y="621"/>
                    </a:lnTo>
                    <a:lnTo>
                      <a:pt x="767" y="621"/>
                    </a:lnTo>
                    <a:lnTo>
                      <a:pt x="775" y="621"/>
                    </a:lnTo>
                    <a:lnTo>
                      <a:pt x="803" y="609"/>
                    </a:lnTo>
                    <a:lnTo>
                      <a:pt x="815" y="605"/>
                    </a:lnTo>
                    <a:lnTo>
                      <a:pt x="827" y="605"/>
                    </a:lnTo>
                    <a:lnTo>
                      <a:pt x="839" y="609"/>
                    </a:lnTo>
                    <a:lnTo>
                      <a:pt x="843" y="609"/>
                    </a:lnTo>
                    <a:lnTo>
                      <a:pt x="847" y="613"/>
                    </a:lnTo>
                    <a:lnTo>
                      <a:pt x="855" y="621"/>
                    </a:lnTo>
                    <a:lnTo>
                      <a:pt x="855" y="629"/>
                    </a:lnTo>
                    <a:lnTo>
                      <a:pt x="859" y="629"/>
                    </a:lnTo>
                    <a:lnTo>
                      <a:pt x="868" y="633"/>
                    </a:lnTo>
                    <a:lnTo>
                      <a:pt x="880" y="633"/>
                    </a:lnTo>
                    <a:lnTo>
                      <a:pt x="892" y="638"/>
                    </a:lnTo>
                    <a:lnTo>
                      <a:pt x="900" y="625"/>
                    </a:lnTo>
                    <a:lnTo>
                      <a:pt x="908" y="617"/>
                    </a:lnTo>
                    <a:lnTo>
                      <a:pt x="908" y="609"/>
                    </a:lnTo>
                    <a:lnTo>
                      <a:pt x="908" y="597"/>
                    </a:lnTo>
                    <a:lnTo>
                      <a:pt x="892" y="577"/>
                    </a:lnTo>
                    <a:lnTo>
                      <a:pt x="868" y="549"/>
                    </a:lnTo>
                    <a:lnTo>
                      <a:pt x="868" y="537"/>
                    </a:lnTo>
                    <a:lnTo>
                      <a:pt x="872" y="516"/>
                    </a:lnTo>
                    <a:lnTo>
                      <a:pt x="880" y="512"/>
                    </a:lnTo>
                    <a:lnTo>
                      <a:pt x="896" y="492"/>
                    </a:lnTo>
                    <a:lnTo>
                      <a:pt x="900" y="476"/>
                    </a:lnTo>
                    <a:lnTo>
                      <a:pt x="908" y="460"/>
                    </a:lnTo>
                    <a:lnTo>
                      <a:pt x="908" y="432"/>
                    </a:lnTo>
                    <a:lnTo>
                      <a:pt x="912" y="428"/>
                    </a:lnTo>
                    <a:lnTo>
                      <a:pt x="924" y="428"/>
                    </a:lnTo>
                    <a:lnTo>
                      <a:pt x="932" y="428"/>
                    </a:lnTo>
                    <a:lnTo>
                      <a:pt x="948" y="432"/>
                    </a:lnTo>
                    <a:lnTo>
                      <a:pt x="960" y="440"/>
                    </a:lnTo>
                    <a:lnTo>
                      <a:pt x="972" y="440"/>
                    </a:lnTo>
                    <a:lnTo>
                      <a:pt x="976" y="440"/>
                    </a:lnTo>
                    <a:lnTo>
                      <a:pt x="985" y="440"/>
                    </a:lnTo>
                    <a:lnTo>
                      <a:pt x="989" y="440"/>
                    </a:lnTo>
                    <a:lnTo>
                      <a:pt x="1013" y="440"/>
                    </a:lnTo>
                    <a:lnTo>
                      <a:pt x="1029" y="432"/>
                    </a:lnTo>
                    <a:lnTo>
                      <a:pt x="1029" y="440"/>
                    </a:lnTo>
                    <a:lnTo>
                      <a:pt x="1029" y="452"/>
                    </a:lnTo>
                    <a:lnTo>
                      <a:pt x="1041" y="456"/>
                    </a:lnTo>
                    <a:lnTo>
                      <a:pt x="1049" y="464"/>
                    </a:lnTo>
                    <a:lnTo>
                      <a:pt x="1061" y="464"/>
                    </a:lnTo>
                    <a:lnTo>
                      <a:pt x="1073" y="464"/>
                    </a:lnTo>
                    <a:lnTo>
                      <a:pt x="1089" y="456"/>
                    </a:lnTo>
                    <a:lnTo>
                      <a:pt x="1097" y="448"/>
                    </a:lnTo>
                    <a:lnTo>
                      <a:pt x="1101" y="424"/>
                    </a:lnTo>
                    <a:lnTo>
                      <a:pt x="1106" y="420"/>
                    </a:lnTo>
                    <a:lnTo>
                      <a:pt x="1114" y="404"/>
                    </a:lnTo>
                    <a:lnTo>
                      <a:pt x="1114" y="391"/>
                    </a:lnTo>
                    <a:lnTo>
                      <a:pt x="1114" y="387"/>
                    </a:lnTo>
                    <a:lnTo>
                      <a:pt x="1106" y="387"/>
                    </a:lnTo>
                    <a:lnTo>
                      <a:pt x="1097" y="367"/>
                    </a:lnTo>
                    <a:lnTo>
                      <a:pt x="1093" y="355"/>
                    </a:lnTo>
                    <a:lnTo>
                      <a:pt x="1093" y="315"/>
                    </a:lnTo>
                    <a:lnTo>
                      <a:pt x="1089" y="299"/>
                    </a:lnTo>
                    <a:lnTo>
                      <a:pt x="1069" y="282"/>
                    </a:lnTo>
                    <a:lnTo>
                      <a:pt x="1053" y="262"/>
                    </a:lnTo>
                    <a:lnTo>
                      <a:pt x="1037" y="262"/>
                    </a:lnTo>
                    <a:lnTo>
                      <a:pt x="1029" y="258"/>
                    </a:lnTo>
                    <a:lnTo>
                      <a:pt x="1021" y="258"/>
                    </a:lnTo>
                    <a:lnTo>
                      <a:pt x="1009" y="258"/>
                    </a:lnTo>
                    <a:lnTo>
                      <a:pt x="1001" y="262"/>
                    </a:lnTo>
                    <a:lnTo>
                      <a:pt x="989" y="274"/>
                    </a:lnTo>
                    <a:lnTo>
                      <a:pt x="964" y="270"/>
                    </a:lnTo>
                    <a:lnTo>
                      <a:pt x="936" y="270"/>
                    </a:lnTo>
                    <a:lnTo>
                      <a:pt x="928" y="262"/>
                    </a:lnTo>
                    <a:lnTo>
                      <a:pt x="912" y="262"/>
                    </a:lnTo>
                    <a:lnTo>
                      <a:pt x="896" y="246"/>
                    </a:lnTo>
                    <a:lnTo>
                      <a:pt x="876" y="234"/>
                    </a:lnTo>
                    <a:lnTo>
                      <a:pt x="868" y="230"/>
                    </a:lnTo>
                    <a:lnTo>
                      <a:pt x="855" y="226"/>
                    </a:lnTo>
                    <a:lnTo>
                      <a:pt x="855" y="222"/>
                    </a:lnTo>
                    <a:lnTo>
                      <a:pt x="843" y="214"/>
                    </a:lnTo>
                    <a:lnTo>
                      <a:pt x="811" y="214"/>
                    </a:lnTo>
                    <a:lnTo>
                      <a:pt x="795" y="222"/>
                    </a:lnTo>
                    <a:lnTo>
                      <a:pt x="791" y="230"/>
                    </a:lnTo>
                    <a:lnTo>
                      <a:pt x="791" y="238"/>
                    </a:lnTo>
                    <a:lnTo>
                      <a:pt x="783" y="242"/>
                    </a:lnTo>
                    <a:lnTo>
                      <a:pt x="779" y="242"/>
                    </a:lnTo>
                    <a:lnTo>
                      <a:pt x="718" y="242"/>
                    </a:lnTo>
                    <a:lnTo>
                      <a:pt x="686" y="242"/>
                    </a:lnTo>
                    <a:lnTo>
                      <a:pt x="682" y="238"/>
                    </a:lnTo>
                    <a:lnTo>
                      <a:pt x="678" y="234"/>
                    </a:lnTo>
                    <a:lnTo>
                      <a:pt x="678" y="214"/>
                    </a:lnTo>
                    <a:lnTo>
                      <a:pt x="678" y="198"/>
                    </a:lnTo>
                    <a:lnTo>
                      <a:pt x="682" y="194"/>
                    </a:lnTo>
                    <a:lnTo>
                      <a:pt x="686" y="190"/>
                    </a:lnTo>
                    <a:lnTo>
                      <a:pt x="690" y="186"/>
                    </a:lnTo>
                    <a:lnTo>
                      <a:pt x="698" y="178"/>
                    </a:lnTo>
                    <a:lnTo>
                      <a:pt x="698" y="174"/>
                    </a:lnTo>
                    <a:lnTo>
                      <a:pt x="698" y="165"/>
                    </a:lnTo>
                    <a:lnTo>
                      <a:pt x="686" y="145"/>
                    </a:lnTo>
                    <a:lnTo>
                      <a:pt x="678" y="125"/>
                    </a:lnTo>
                    <a:lnTo>
                      <a:pt x="674" y="113"/>
                    </a:lnTo>
                    <a:lnTo>
                      <a:pt x="666" y="93"/>
                    </a:lnTo>
                    <a:lnTo>
                      <a:pt x="666" y="89"/>
                    </a:lnTo>
                    <a:lnTo>
                      <a:pt x="662" y="85"/>
                    </a:lnTo>
                    <a:lnTo>
                      <a:pt x="654" y="32"/>
                    </a:lnTo>
                    <a:lnTo>
                      <a:pt x="650" y="8"/>
                    </a:lnTo>
                    <a:lnTo>
                      <a:pt x="638" y="8"/>
                    </a:lnTo>
                    <a:lnTo>
                      <a:pt x="629" y="0"/>
                    </a:lnTo>
                    <a:lnTo>
                      <a:pt x="629" y="24"/>
                    </a:lnTo>
                    <a:lnTo>
                      <a:pt x="629" y="40"/>
                    </a:lnTo>
                    <a:lnTo>
                      <a:pt x="634" y="44"/>
                    </a:lnTo>
                    <a:lnTo>
                      <a:pt x="634" y="48"/>
                    </a:lnTo>
                    <a:lnTo>
                      <a:pt x="638" y="69"/>
                    </a:lnTo>
                    <a:lnTo>
                      <a:pt x="646" y="101"/>
                    </a:lnTo>
                    <a:lnTo>
                      <a:pt x="654" y="113"/>
                    </a:lnTo>
                    <a:lnTo>
                      <a:pt x="658" y="117"/>
                    </a:lnTo>
                    <a:lnTo>
                      <a:pt x="658" y="125"/>
                    </a:lnTo>
                    <a:lnTo>
                      <a:pt x="662" y="129"/>
                    </a:lnTo>
                    <a:lnTo>
                      <a:pt x="662" y="149"/>
                    </a:lnTo>
                    <a:lnTo>
                      <a:pt x="662" y="165"/>
                    </a:lnTo>
                    <a:lnTo>
                      <a:pt x="658" y="178"/>
                    </a:lnTo>
                    <a:lnTo>
                      <a:pt x="654" y="198"/>
                    </a:lnTo>
                    <a:lnTo>
                      <a:pt x="650" y="198"/>
                    </a:lnTo>
                    <a:lnTo>
                      <a:pt x="646" y="202"/>
                    </a:lnTo>
                    <a:lnTo>
                      <a:pt x="634" y="202"/>
                    </a:lnTo>
                    <a:lnTo>
                      <a:pt x="621" y="202"/>
                    </a:lnTo>
                    <a:lnTo>
                      <a:pt x="613" y="186"/>
                    </a:lnTo>
                    <a:lnTo>
                      <a:pt x="597" y="174"/>
                    </a:lnTo>
                    <a:lnTo>
                      <a:pt x="597" y="165"/>
                    </a:lnTo>
                    <a:lnTo>
                      <a:pt x="593" y="157"/>
                    </a:lnTo>
                    <a:lnTo>
                      <a:pt x="581" y="149"/>
                    </a:lnTo>
                    <a:lnTo>
                      <a:pt x="581" y="145"/>
                    </a:lnTo>
                    <a:lnTo>
                      <a:pt x="565" y="129"/>
                    </a:lnTo>
                    <a:lnTo>
                      <a:pt x="549" y="117"/>
                    </a:lnTo>
                    <a:lnTo>
                      <a:pt x="537" y="117"/>
                    </a:lnTo>
                    <a:lnTo>
                      <a:pt x="517" y="117"/>
                    </a:lnTo>
                    <a:lnTo>
                      <a:pt x="508" y="121"/>
                    </a:lnTo>
                    <a:lnTo>
                      <a:pt x="496" y="129"/>
                    </a:lnTo>
                    <a:lnTo>
                      <a:pt x="488" y="137"/>
                    </a:lnTo>
                    <a:lnTo>
                      <a:pt x="480" y="149"/>
                    </a:lnTo>
                    <a:lnTo>
                      <a:pt x="468" y="149"/>
                    </a:lnTo>
                    <a:lnTo>
                      <a:pt x="456" y="149"/>
                    </a:lnTo>
                    <a:lnTo>
                      <a:pt x="440" y="145"/>
                    </a:lnTo>
                    <a:lnTo>
                      <a:pt x="420" y="137"/>
                    </a:lnTo>
                    <a:lnTo>
                      <a:pt x="391" y="137"/>
                    </a:lnTo>
                    <a:lnTo>
                      <a:pt x="367" y="137"/>
                    </a:lnTo>
                    <a:lnTo>
                      <a:pt x="347" y="129"/>
                    </a:lnTo>
                    <a:lnTo>
                      <a:pt x="327" y="121"/>
                    </a:lnTo>
                    <a:lnTo>
                      <a:pt x="299" y="117"/>
                    </a:lnTo>
                    <a:lnTo>
                      <a:pt x="279" y="113"/>
                    </a:lnTo>
                    <a:lnTo>
                      <a:pt x="274" y="109"/>
                    </a:lnTo>
                    <a:lnTo>
                      <a:pt x="262" y="101"/>
                    </a:lnTo>
                    <a:lnTo>
                      <a:pt x="254" y="89"/>
                    </a:lnTo>
                    <a:lnTo>
                      <a:pt x="238" y="77"/>
                    </a:lnTo>
                    <a:lnTo>
                      <a:pt x="234" y="57"/>
                    </a:lnTo>
                    <a:lnTo>
                      <a:pt x="222" y="36"/>
                    </a:lnTo>
                    <a:lnTo>
                      <a:pt x="206" y="32"/>
                    </a:lnTo>
                    <a:lnTo>
                      <a:pt x="190" y="28"/>
                    </a:lnTo>
                    <a:lnTo>
                      <a:pt x="190" y="44"/>
                    </a:lnTo>
                    <a:lnTo>
                      <a:pt x="190" y="61"/>
                    </a:lnTo>
                    <a:lnTo>
                      <a:pt x="206" y="77"/>
                    </a:lnTo>
                    <a:lnTo>
                      <a:pt x="218" y="89"/>
                    </a:lnTo>
                    <a:lnTo>
                      <a:pt x="218" y="113"/>
                    </a:lnTo>
                    <a:lnTo>
                      <a:pt x="218" y="137"/>
                    </a:lnTo>
                    <a:lnTo>
                      <a:pt x="214" y="149"/>
                    </a:lnTo>
                    <a:lnTo>
                      <a:pt x="206" y="157"/>
                    </a:lnTo>
                    <a:lnTo>
                      <a:pt x="133" y="161"/>
                    </a:lnTo>
                    <a:lnTo>
                      <a:pt x="121" y="165"/>
                    </a:lnTo>
                    <a:lnTo>
                      <a:pt x="121" y="174"/>
                    </a:lnTo>
                    <a:lnTo>
                      <a:pt x="117" y="174"/>
                    </a:lnTo>
                    <a:lnTo>
                      <a:pt x="117" y="186"/>
                    </a:lnTo>
                    <a:lnTo>
                      <a:pt x="117" y="194"/>
                    </a:lnTo>
                    <a:lnTo>
                      <a:pt x="125" y="202"/>
                    </a:lnTo>
                    <a:lnTo>
                      <a:pt x="129" y="210"/>
                    </a:lnTo>
                    <a:lnTo>
                      <a:pt x="129" y="238"/>
                    </a:lnTo>
                    <a:lnTo>
                      <a:pt x="129" y="262"/>
                    </a:lnTo>
                    <a:lnTo>
                      <a:pt x="133" y="278"/>
                    </a:lnTo>
                    <a:lnTo>
                      <a:pt x="141" y="295"/>
                    </a:lnTo>
                    <a:lnTo>
                      <a:pt x="141" y="311"/>
                    </a:lnTo>
                    <a:lnTo>
                      <a:pt x="141" y="319"/>
                    </a:lnTo>
                    <a:lnTo>
                      <a:pt x="137" y="327"/>
                    </a:lnTo>
                    <a:lnTo>
                      <a:pt x="133" y="331"/>
                    </a:lnTo>
                    <a:lnTo>
                      <a:pt x="125" y="335"/>
                    </a:lnTo>
                    <a:lnTo>
                      <a:pt x="117" y="343"/>
                    </a:lnTo>
                    <a:lnTo>
                      <a:pt x="65" y="363"/>
                    </a:lnTo>
                    <a:lnTo>
                      <a:pt x="28" y="375"/>
                    </a:lnTo>
                    <a:lnTo>
                      <a:pt x="24" y="379"/>
                    </a:lnTo>
                    <a:lnTo>
                      <a:pt x="16" y="383"/>
                    </a:lnTo>
                    <a:lnTo>
                      <a:pt x="8" y="391"/>
                    </a:lnTo>
                    <a:lnTo>
                      <a:pt x="0" y="404"/>
                    </a:lnTo>
                    <a:lnTo>
                      <a:pt x="0" y="424"/>
                    </a:lnTo>
                    <a:lnTo>
                      <a:pt x="0" y="452"/>
                    </a:lnTo>
                    <a:lnTo>
                      <a:pt x="4" y="456"/>
                    </a:lnTo>
                    <a:lnTo>
                      <a:pt x="8" y="460"/>
                    </a:lnTo>
                    <a:lnTo>
                      <a:pt x="16" y="460"/>
                    </a:lnTo>
                    <a:lnTo>
                      <a:pt x="28" y="460"/>
                    </a:lnTo>
                    <a:lnTo>
                      <a:pt x="45" y="456"/>
                    </a:lnTo>
                    <a:lnTo>
                      <a:pt x="57" y="452"/>
                    </a:lnTo>
                    <a:lnTo>
                      <a:pt x="57" y="448"/>
                    </a:lnTo>
                    <a:lnTo>
                      <a:pt x="81" y="440"/>
                    </a:lnTo>
                    <a:lnTo>
                      <a:pt x="105" y="428"/>
                    </a:lnTo>
                    <a:lnTo>
                      <a:pt x="109" y="424"/>
                    </a:lnTo>
                    <a:lnTo>
                      <a:pt x="121" y="420"/>
                    </a:lnTo>
                    <a:lnTo>
                      <a:pt x="129" y="416"/>
                    </a:lnTo>
                    <a:lnTo>
                      <a:pt x="133" y="416"/>
                    </a:lnTo>
                    <a:lnTo>
                      <a:pt x="137" y="420"/>
                    </a:lnTo>
                    <a:lnTo>
                      <a:pt x="141" y="424"/>
                    </a:lnTo>
                    <a:lnTo>
                      <a:pt x="149" y="432"/>
                    </a:lnTo>
                    <a:lnTo>
                      <a:pt x="149" y="476"/>
                    </a:lnTo>
                    <a:lnTo>
                      <a:pt x="149" y="516"/>
                    </a:lnTo>
                    <a:lnTo>
                      <a:pt x="153" y="525"/>
                    </a:lnTo>
                    <a:lnTo>
                      <a:pt x="158" y="529"/>
                    </a:lnTo>
                    <a:lnTo>
                      <a:pt x="170" y="545"/>
                    </a:lnTo>
                    <a:lnTo>
                      <a:pt x="178" y="561"/>
                    </a:lnTo>
                    <a:lnTo>
                      <a:pt x="178" y="577"/>
                    </a:lnTo>
                    <a:lnTo>
                      <a:pt x="174" y="585"/>
                    </a:lnTo>
                    <a:lnTo>
                      <a:pt x="158" y="593"/>
                    </a:lnTo>
                    <a:lnTo>
                      <a:pt x="141" y="609"/>
                    </a:lnTo>
                    <a:lnTo>
                      <a:pt x="125" y="613"/>
                    </a:lnTo>
                    <a:lnTo>
                      <a:pt x="109" y="617"/>
                    </a:lnTo>
                    <a:lnTo>
                      <a:pt x="101" y="629"/>
                    </a:lnTo>
                    <a:lnTo>
                      <a:pt x="93" y="638"/>
                    </a:lnTo>
                    <a:lnTo>
                      <a:pt x="85" y="662"/>
                    </a:lnTo>
                    <a:lnTo>
                      <a:pt x="85" y="678"/>
                    </a:lnTo>
                    <a:lnTo>
                      <a:pt x="93" y="686"/>
                    </a:lnTo>
                    <a:lnTo>
                      <a:pt x="93" y="698"/>
                    </a:lnTo>
                    <a:lnTo>
                      <a:pt x="101" y="714"/>
                    </a:lnTo>
                    <a:lnTo>
                      <a:pt x="109" y="730"/>
                    </a:lnTo>
                    <a:lnTo>
                      <a:pt x="109" y="755"/>
                    </a:lnTo>
                    <a:lnTo>
                      <a:pt x="109" y="771"/>
                    </a:lnTo>
                    <a:lnTo>
                      <a:pt x="105" y="791"/>
                    </a:lnTo>
                    <a:lnTo>
                      <a:pt x="105" y="803"/>
                    </a:lnTo>
                    <a:lnTo>
                      <a:pt x="105" y="815"/>
                    </a:lnTo>
                    <a:lnTo>
                      <a:pt x="109" y="827"/>
                    </a:lnTo>
                    <a:lnTo>
                      <a:pt x="109" y="867"/>
                    </a:lnTo>
                    <a:lnTo>
                      <a:pt x="117" y="892"/>
                    </a:lnTo>
                    <a:lnTo>
                      <a:pt x="129" y="916"/>
                    </a:lnTo>
                    <a:lnTo>
                      <a:pt x="137" y="920"/>
                    </a:lnTo>
                    <a:lnTo>
                      <a:pt x="141" y="920"/>
                    </a:lnTo>
                    <a:lnTo>
                      <a:pt x="153" y="916"/>
                    </a:lnTo>
                    <a:lnTo>
                      <a:pt x="162" y="884"/>
                    </a:lnTo>
                    <a:lnTo>
                      <a:pt x="174" y="831"/>
                    </a:lnTo>
                    <a:lnTo>
                      <a:pt x="186" y="819"/>
                    </a:lnTo>
                    <a:lnTo>
                      <a:pt x="194" y="799"/>
                    </a:lnTo>
                    <a:lnTo>
                      <a:pt x="202" y="791"/>
                    </a:lnTo>
                    <a:lnTo>
                      <a:pt x="202" y="783"/>
                    </a:lnTo>
                    <a:lnTo>
                      <a:pt x="210" y="771"/>
                    </a:lnTo>
                    <a:lnTo>
                      <a:pt x="218" y="767"/>
                    </a:lnTo>
                    <a:lnTo>
                      <a:pt x="234" y="767"/>
                    </a:lnTo>
                    <a:lnTo>
                      <a:pt x="250" y="767"/>
                    </a:lnTo>
                    <a:lnTo>
                      <a:pt x="262" y="779"/>
                    </a:lnTo>
                    <a:lnTo>
                      <a:pt x="270" y="783"/>
                    </a:lnTo>
                    <a:lnTo>
                      <a:pt x="279" y="791"/>
                    </a:lnTo>
                    <a:lnTo>
                      <a:pt x="291" y="791"/>
                    </a:lnTo>
                    <a:lnTo>
                      <a:pt x="291" y="795"/>
                    </a:lnTo>
                    <a:lnTo>
                      <a:pt x="331" y="799"/>
                    </a:lnTo>
                    <a:lnTo>
                      <a:pt x="375" y="807"/>
                    </a:lnTo>
                    <a:lnTo>
                      <a:pt x="391" y="807"/>
                    </a:lnTo>
                    <a:lnTo>
                      <a:pt x="416" y="807"/>
                    </a:lnTo>
                    <a:lnTo>
                      <a:pt x="432" y="803"/>
                    </a:lnTo>
                    <a:lnTo>
                      <a:pt x="448" y="795"/>
                    </a:lnTo>
                    <a:lnTo>
                      <a:pt x="456" y="783"/>
                    </a:lnTo>
                    <a:lnTo>
                      <a:pt x="468" y="767"/>
                    </a:lnTo>
                    <a:lnTo>
                      <a:pt x="472" y="718"/>
                    </a:lnTo>
                    <a:lnTo>
                      <a:pt x="480" y="674"/>
                    </a:lnTo>
                    <a:lnTo>
                      <a:pt x="484" y="666"/>
                    </a:lnTo>
                    <a:lnTo>
                      <a:pt x="488" y="662"/>
                    </a:lnTo>
                    <a:lnTo>
                      <a:pt x="513" y="633"/>
                    </a:lnTo>
                    <a:lnTo>
                      <a:pt x="521" y="62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11" name="Freeform 20"/>
              <p:cNvSpPr>
                <a:spLocks/>
              </p:cNvSpPr>
              <p:nvPr/>
            </p:nvSpPr>
            <p:spPr bwMode="auto">
              <a:xfrm>
                <a:off x="7496037" y="5430139"/>
                <a:ext cx="684213" cy="1203072"/>
              </a:xfrm>
              <a:custGeom>
                <a:avLst/>
                <a:gdLst>
                  <a:gd name="T0" fmla="*/ 468434450 w 762"/>
                  <a:gd name="T1" fmla="*/ 982995918 h 1352"/>
                  <a:gd name="T2" fmla="*/ 409577784 w 762"/>
                  <a:gd name="T3" fmla="*/ 970850749 h 1352"/>
                  <a:gd name="T4" fmla="*/ 403128046 w 762"/>
                  <a:gd name="T5" fmla="*/ 879002908 h 1352"/>
                  <a:gd name="T6" fmla="*/ 354752766 w 762"/>
                  <a:gd name="T7" fmla="*/ 854712570 h 1352"/>
                  <a:gd name="T8" fmla="*/ 286221044 w 762"/>
                  <a:gd name="T9" fmla="*/ 824350518 h 1352"/>
                  <a:gd name="T10" fmla="*/ 266870932 w 762"/>
                  <a:gd name="T11" fmla="*/ 860785154 h 1352"/>
                  <a:gd name="T12" fmla="*/ 172538406 w 762"/>
                  <a:gd name="T13" fmla="*/ 882039200 h 1352"/>
                  <a:gd name="T14" fmla="*/ 143513238 w 762"/>
                  <a:gd name="T15" fmla="*/ 891148077 h 1352"/>
                  <a:gd name="T16" fmla="*/ 159638930 w 762"/>
                  <a:gd name="T17" fmla="*/ 863821447 h 1352"/>
                  <a:gd name="T18" fmla="*/ 136257170 w 762"/>
                  <a:gd name="T19" fmla="*/ 778047279 h 1352"/>
                  <a:gd name="T20" fmla="*/ 107231974 w 762"/>
                  <a:gd name="T21" fmla="*/ 750719778 h 1352"/>
                  <a:gd name="T22" fmla="*/ 87881862 w 762"/>
                  <a:gd name="T23" fmla="*/ 732502895 h 1352"/>
                  <a:gd name="T24" fmla="*/ 19350119 w 762"/>
                  <a:gd name="T25" fmla="*/ 695308533 h 1352"/>
                  <a:gd name="T26" fmla="*/ 25799857 w 762"/>
                  <a:gd name="T27" fmla="*/ 664945610 h 1352"/>
                  <a:gd name="T28" fmla="*/ 0 w 762"/>
                  <a:gd name="T29" fmla="*/ 627751248 h 1352"/>
                  <a:gd name="T30" fmla="*/ 35474920 w 762"/>
                  <a:gd name="T31" fmla="*/ 612569786 h 1352"/>
                  <a:gd name="T32" fmla="*/ 65306432 w 762"/>
                  <a:gd name="T33" fmla="*/ 636860124 h 1352"/>
                  <a:gd name="T34" fmla="*/ 113681712 w 762"/>
                  <a:gd name="T35" fmla="*/ 609533494 h 1352"/>
                  <a:gd name="T36" fmla="*/ 224139004 w 762"/>
                  <a:gd name="T37" fmla="*/ 594352033 h 1352"/>
                  <a:gd name="T38" fmla="*/ 220913686 w 762"/>
                  <a:gd name="T39" fmla="*/ 551085086 h 1352"/>
                  <a:gd name="T40" fmla="*/ 211238630 w 762"/>
                  <a:gd name="T41" fmla="*/ 508576994 h 1352"/>
                  <a:gd name="T42" fmla="*/ 224139004 w 762"/>
                  <a:gd name="T43" fmla="*/ 441019600 h 1352"/>
                  <a:gd name="T44" fmla="*/ 214463948 w 762"/>
                  <a:gd name="T45" fmla="*/ 358280854 h 1352"/>
                  <a:gd name="T46" fmla="*/ 185438780 w 762"/>
                  <a:gd name="T47" fmla="*/ 318809054 h 1352"/>
                  <a:gd name="T48" fmla="*/ 195113836 w 762"/>
                  <a:gd name="T49" fmla="*/ 263396938 h 1352"/>
                  <a:gd name="T50" fmla="*/ 182213462 w 762"/>
                  <a:gd name="T51" fmla="*/ 229998595 h 1352"/>
                  <a:gd name="T52" fmla="*/ 146738556 w 762"/>
                  <a:gd name="T53" fmla="*/ 174586424 h 1352"/>
                  <a:gd name="T54" fmla="*/ 133031852 w 762"/>
                  <a:gd name="T55" fmla="*/ 107029112 h 1352"/>
                  <a:gd name="T56" fmla="*/ 113681712 w 762"/>
                  <a:gd name="T57" fmla="*/ 73629897 h 1352"/>
                  <a:gd name="T58" fmla="*/ 188664098 w 762"/>
                  <a:gd name="T59" fmla="*/ 0 h 1352"/>
                  <a:gd name="T60" fmla="*/ 217689266 w 762"/>
                  <a:gd name="T61" fmla="*/ 43266961 h 1352"/>
                  <a:gd name="T62" fmla="*/ 263645614 w 762"/>
                  <a:gd name="T63" fmla="*/ 85775066 h 1352"/>
                  <a:gd name="T64" fmla="*/ 276545988 w 762"/>
                  <a:gd name="T65" fmla="*/ 110824259 h 1352"/>
                  <a:gd name="T66" fmla="*/ 315246212 w 762"/>
                  <a:gd name="T67" fmla="*/ 91847650 h 1352"/>
                  <a:gd name="T68" fmla="*/ 357977186 w 762"/>
                  <a:gd name="T69" fmla="*/ 64521020 h 1352"/>
                  <a:gd name="T70" fmla="*/ 439409282 w 762"/>
                  <a:gd name="T71" fmla="*/ 85775066 h 1352"/>
                  <a:gd name="T72" fmla="*/ 468434450 w 762"/>
                  <a:gd name="T73" fmla="*/ 64521020 h 1352"/>
                  <a:gd name="T74" fmla="*/ 513584525 w 762"/>
                  <a:gd name="T75" fmla="*/ 79702481 h 1352"/>
                  <a:gd name="T76" fmla="*/ 527291228 w 762"/>
                  <a:gd name="T77" fmla="*/ 138150917 h 1352"/>
                  <a:gd name="T78" fmla="*/ 533740966 w 762"/>
                  <a:gd name="T79" fmla="*/ 183695301 h 1352"/>
                  <a:gd name="T80" fmla="*/ 536966284 w 762"/>
                  <a:gd name="T81" fmla="*/ 229998595 h 1352"/>
                  <a:gd name="T82" fmla="*/ 520035161 w 762"/>
                  <a:gd name="T83" fmla="*/ 284650984 h 1352"/>
                  <a:gd name="T84" fmla="*/ 513584525 w 762"/>
                  <a:gd name="T85" fmla="*/ 327917931 h 1352"/>
                  <a:gd name="T86" fmla="*/ 497459731 w 762"/>
                  <a:gd name="T87" fmla="*/ 352208269 h 1352"/>
                  <a:gd name="T88" fmla="*/ 510360105 w 762"/>
                  <a:gd name="T89" fmla="*/ 404584093 h 1352"/>
                  <a:gd name="T90" fmla="*/ 530516546 w 762"/>
                  <a:gd name="T91" fmla="*/ 456201061 h 1352"/>
                  <a:gd name="T92" fmla="*/ 549866658 w 762"/>
                  <a:gd name="T93" fmla="*/ 535903624 h 1352"/>
                  <a:gd name="T94" fmla="*/ 540191602 w 762"/>
                  <a:gd name="T95" fmla="*/ 621678663 h 1352"/>
                  <a:gd name="T96" fmla="*/ 565991453 w 762"/>
                  <a:gd name="T97" fmla="*/ 677090779 h 1352"/>
                  <a:gd name="T98" fmla="*/ 585341565 w 762"/>
                  <a:gd name="T99" fmla="*/ 775010116 h 1352"/>
                  <a:gd name="T100" fmla="*/ 604691677 w 762"/>
                  <a:gd name="T101" fmla="*/ 824350518 h 1352"/>
                  <a:gd name="T102" fmla="*/ 614366733 w 762"/>
                  <a:gd name="T103" fmla="*/ 879002908 h 1352"/>
                  <a:gd name="T104" fmla="*/ 565991453 w 762"/>
                  <a:gd name="T105" fmla="*/ 919233780 h 1352"/>
                  <a:gd name="T106" fmla="*/ 540191602 w 762"/>
                  <a:gd name="T107" fmla="*/ 943524119 h 1352"/>
                  <a:gd name="T108" fmla="*/ 500685049 w 762"/>
                  <a:gd name="T109" fmla="*/ 1026262865 h 135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762"/>
                  <a:gd name="T166" fmla="*/ 0 h 1352"/>
                  <a:gd name="T167" fmla="*/ 762 w 762"/>
                  <a:gd name="T168" fmla="*/ 1352 h 135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762" h="1352">
                    <a:moveTo>
                      <a:pt x="609" y="1352"/>
                    </a:moveTo>
                    <a:lnTo>
                      <a:pt x="605" y="1340"/>
                    </a:lnTo>
                    <a:lnTo>
                      <a:pt x="585" y="1320"/>
                    </a:lnTo>
                    <a:lnTo>
                      <a:pt x="585" y="1307"/>
                    </a:lnTo>
                    <a:lnTo>
                      <a:pt x="581" y="1295"/>
                    </a:lnTo>
                    <a:lnTo>
                      <a:pt x="577" y="1291"/>
                    </a:lnTo>
                    <a:lnTo>
                      <a:pt x="573" y="1283"/>
                    </a:lnTo>
                    <a:lnTo>
                      <a:pt x="541" y="1283"/>
                    </a:lnTo>
                    <a:lnTo>
                      <a:pt x="516" y="1283"/>
                    </a:lnTo>
                    <a:lnTo>
                      <a:pt x="508" y="1279"/>
                    </a:lnTo>
                    <a:lnTo>
                      <a:pt x="504" y="1275"/>
                    </a:lnTo>
                    <a:lnTo>
                      <a:pt x="504" y="1267"/>
                    </a:lnTo>
                    <a:lnTo>
                      <a:pt x="500" y="1255"/>
                    </a:lnTo>
                    <a:lnTo>
                      <a:pt x="500" y="1207"/>
                    </a:lnTo>
                    <a:lnTo>
                      <a:pt x="500" y="1158"/>
                    </a:lnTo>
                    <a:lnTo>
                      <a:pt x="496" y="1154"/>
                    </a:lnTo>
                    <a:lnTo>
                      <a:pt x="492" y="1142"/>
                    </a:lnTo>
                    <a:lnTo>
                      <a:pt x="468" y="1142"/>
                    </a:lnTo>
                    <a:lnTo>
                      <a:pt x="444" y="1138"/>
                    </a:lnTo>
                    <a:lnTo>
                      <a:pt x="440" y="1126"/>
                    </a:lnTo>
                    <a:lnTo>
                      <a:pt x="436" y="1102"/>
                    </a:lnTo>
                    <a:lnTo>
                      <a:pt x="424" y="1098"/>
                    </a:lnTo>
                    <a:lnTo>
                      <a:pt x="416" y="1090"/>
                    </a:lnTo>
                    <a:lnTo>
                      <a:pt x="387" y="1086"/>
                    </a:lnTo>
                    <a:lnTo>
                      <a:pt x="355" y="1086"/>
                    </a:lnTo>
                    <a:lnTo>
                      <a:pt x="351" y="1086"/>
                    </a:lnTo>
                    <a:lnTo>
                      <a:pt x="347" y="1090"/>
                    </a:lnTo>
                    <a:lnTo>
                      <a:pt x="347" y="1102"/>
                    </a:lnTo>
                    <a:lnTo>
                      <a:pt x="347" y="1126"/>
                    </a:lnTo>
                    <a:lnTo>
                      <a:pt x="331" y="1134"/>
                    </a:lnTo>
                    <a:lnTo>
                      <a:pt x="307" y="1146"/>
                    </a:lnTo>
                    <a:lnTo>
                      <a:pt x="270" y="1154"/>
                    </a:lnTo>
                    <a:lnTo>
                      <a:pt x="230" y="1158"/>
                    </a:lnTo>
                    <a:lnTo>
                      <a:pt x="222" y="1158"/>
                    </a:lnTo>
                    <a:lnTo>
                      <a:pt x="214" y="1162"/>
                    </a:lnTo>
                    <a:lnTo>
                      <a:pt x="206" y="1170"/>
                    </a:lnTo>
                    <a:lnTo>
                      <a:pt x="194" y="1174"/>
                    </a:lnTo>
                    <a:lnTo>
                      <a:pt x="182" y="1174"/>
                    </a:lnTo>
                    <a:lnTo>
                      <a:pt x="178" y="1174"/>
                    </a:lnTo>
                    <a:lnTo>
                      <a:pt x="169" y="1170"/>
                    </a:lnTo>
                    <a:lnTo>
                      <a:pt x="169" y="1162"/>
                    </a:lnTo>
                    <a:lnTo>
                      <a:pt x="178" y="1154"/>
                    </a:lnTo>
                    <a:lnTo>
                      <a:pt x="182" y="1146"/>
                    </a:lnTo>
                    <a:lnTo>
                      <a:pt x="198" y="1138"/>
                    </a:lnTo>
                    <a:lnTo>
                      <a:pt x="198" y="1102"/>
                    </a:lnTo>
                    <a:lnTo>
                      <a:pt x="198" y="1069"/>
                    </a:lnTo>
                    <a:lnTo>
                      <a:pt x="194" y="1049"/>
                    </a:lnTo>
                    <a:lnTo>
                      <a:pt x="182" y="1025"/>
                    </a:lnTo>
                    <a:lnTo>
                      <a:pt x="169" y="1025"/>
                    </a:lnTo>
                    <a:lnTo>
                      <a:pt x="157" y="1021"/>
                    </a:lnTo>
                    <a:lnTo>
                      <a:pt x="153" y="1009"/>
                    </a:lnTo>
                    <a:lnTo>
                      <a:pt x="141" y="997"/>
                    </a:lnTo>
                    <a:lnTo>
                      <a:pt x="141" y="989"/>
                    </a:lnTo>
                    <a:lnTo>
                      <a:pt x="133" y="989"/>
                    </a:lnTo>
                    <a:lnTo>
                      <a:pt x="129" y="985"/>
                    </a:lnTo>
                    <a:lnTo>
                      <a:pt x="129" y="977"/>
                    </a:lnTo>
                    <a:lnTo>
                      <a:pt x="117" y="977"/>
                    </a:lnTo>
                    <a:lnTo>
                      <a:pt x="113" y="973"/>
                    </a:lnTo>
                    <a:lnTo>
                      <a:pt x="109" y="965"/>
                    </a:lnTo>
                    <a:lnTo>
                      <a:pt x="101" y="952"/>
                    </a:lnTo>
                    <a:lnTo>
                      <a:pt x="81" y="948"/>
                    </a:lnTo>
                    <a:lnTo>
                      <a:pt x="61" y="932"/>
                    </a:lnTo>
                    <a:lnTo>
                      <a:pt x="28" y="920"/>
                    </a:lnTo>
                    <a:lnTo>
                      <a:pt x="24" y="916"/>
                    </a:lnTo>
                    <a:lnTo>
                      <a:pt x="24" y="912"/>
                    </a:lnTo>
                    <a:lnTo>
                      <a:pt x="24" y="900"/>
                    </a:lnTo>
                    <a:lnTo>
                      <a:pt x="28" y="892"/>
                    </a:lnTo>
                    <a:lnTo>
                      <a:pt x="36" y="884"/>
                    </a:lnTo>
                    <a:lnTo>
                      <a:pt x="32" y="876"/>
                    </a:lnTo>
                    <a:lnTo>
                      <a:pt x="32" y="864"/>
                    </a:lnTo>
                    <a:lnTo>
                      <a:pt x="20" y="848"/>
                    </a:lnTo>
                    <a:lnTo>
                      <a:pt x="0" y="839"/>
                    </a:lnTo>
                    <a:lnTo>
                      <a:pt x="0" y="835"/>
                    </a:lnTo>
                    <a:lnTo>
                      <a:pt x="0" y="827"/>
                    </a:lnTo>
                    <a:lnTo>
                      <a:pt x="4" y="819"/>
                    </a:lnTo>
                    <a:lnTo>
                      <a:pt x="4" y="807"/>
                    </a:lnTo>
                    <a:lnTo>
                      <a:pt x="24" y="807"/>
                    </a:lnTo>
                    <a:lnTo>
                      <a:pt x="44" y="807"/>
                    </a:lnTo>
                    <a:lnTo>
                      <a:pt x="52" y="827"/>
                    </a:lnTo>
                    <a:lnTo>
                      <a:pt x="57" y="835"/>
                    </a:lnTo>
                    <a:lnTo>
                      <a:pt x="61" y="835"/>
                    </a:lnTo>
                    <a:lnTo>
                      <a:pt x="65" y="839"/>
                    </a:lnTo>
                    <a:lnTo>
                      <a:pt x="81" y="839"/>
                    </a:lnTo>
                    <a:lnTo>
                      <a:pt x="97" y="839"/>
                    </a:lnTo>
                    <a:lnTo>
                      <a:pt x="105" y="831"/>
                    </a:lnTo>
                    <a:lnTo>
                      <a:pt x="125" y="827"/>
                    </a:lnTo>
                    <a:lnTo>
                      <a:pt x="133" y="807"/>
                    </a:lnTo>
                    <a:lnTo>
                      <a:pt x="141" y="803"/>
                    </a:lnTo>
                    <a:lnTo>
                      <a:pt x="190" y="803"/>
                    </a:lnTo>
                    <a:lnTo>
                      <a:pt x="242" y="799"/>
                    </a:lnTo>
                    <a:lnTo>
                      <a:pt x="250" y="799"/>
                    </a:lnTo>
                    <a:lnTo>
                      <a:pt x="262" y="795"/>
                    </a:lnTo>
                    <a:lnTo>
                      <a:pt x="278" y="783"/>
                    </a:lnTo>
                    <a:lnTo>
                      <a:pt x="295" y="763"/>
                    </a:lnTo>
                    <a:lnTo>
                      <a:pt x="295" y="751"/>
                    </a:lnTo>
                    <a:lnTo>
                      <a:pt x="295" y="731"/>
                    </a:lnTo>
                    <a:lnTo>
                      <a:pt x="290" y="726"/>
                    </a:lnTo>
                    <a:lnTo>
                      <a:pt x="274" y="726"/>
                    </a:lnTo>
                    <a:lnTo>
                      <a:pt x="262" y="726"/>
                    </a:lnTo>
                    <a:lnTo>
                      <a:pt x="266" y="694"/>
                    </a:lnTo>
                    <a:lnTo>
                      <a:pt x="270" y="678"/>
                    </a:lnTo>
                    <a:lnTo>
                      <a:pt x="266" y="674"/>
                    </a:lnTo>
                    <a:lnTo>
                      <a:pt x="262" y="670"/>
                    </a:lnTo>
                    <a:lnTo>
                      <a:pt x="262" y="654"/>
                    </a:lnTo>
                    <a:lnTo>
                      <a:pt x="262" y="642"/>
                    </a:lnTo>
                    <a:lnTo>
                      <a:pt x="266" y="634"/>
                    </a:lnTo>
                    <a:lnTo>
                      <a:pt x="270" y="622"/>
                    </a:lnTo>
                    <a:lnTo>
                      <a:pt x="278" y="581"/>
                    </a:lnTo>
                    <a:lnTo>
                      <a:pt x="282" y="561"/>
                    </a:lnTo>
                    <a:lnTo>
                      <a:pt x="282" y="521"/>
                    </a:lnTo>
                    <a:lnTo>
                      <a:pt x="282" y="476"/>
                    </a:lnTo>
                    <a:lnTo>
                      <a:pt x="274" y="476"/>
                    </a:lnTo>
                    <a:lnTo>
                      <a:pt x="266" y="472"/>
                    </a:lnTo>
                    <a:lnTo>
                      <a:pt x="250" y="460"/>
                    </a:lnTo>
                    <a:lnTo>
                      <a:pt x="242" y="440"/>
                    </a:lnTo>
                    <a:lnTo>
                      <a:pt x="234" y="436"/>
                    </a:lnTo>
                    <a:lnTo>
                      <a:pt x="230" y="428"/>
                    </a:lnTo>
                    <a:lnTo>
                      <a:pt x="230" y="420"/>
                    </a:lnTo>
                    <a:lnTo>
                      <a:pt x="230" y="404"/>
                    </a:lnTo>
                    <a:lnTo>
                      <a:pt x="234" y="400"/>
                    </a:lnTo>
                    <a:lnTo>
                      <a:pt x="242" y="384"/>
                    </a:lnTo>
                    <a:lnTo>
                      <a:pt x="242" y="367"/>
                    </a:lnTo>
                    <a:lnTo>
                      <a:pt x="242" y="347"/>
                    </a:lnTo>
                    <a:lnTo>
                      <a:pt x="234" y="343"/>
                    </a:lnTo>
                    <a:lnTo>
                      <a:pt x="230" y="331"/>
                    </a:lnTo>
                    <a:lnTo>
                      <a:pt x="230" y="327"/>
                    </a:lnTo>
                    <a:lnTo>
                      <a:pt x="226" y="327"/>
                    </a:lnTo>
                    <a:lnTo>
                      <a:pt x="226" y="303"/>
                    </a:lnTo>
                    <a:lnTo>
                      <a:pt x="222" y="283"/>
                    </a:lnTo>
                    <a:lnTo>
                      <a:pt x="214" y="275"/>
                    </a:lnTo>
                    <a:lnTo>
                      <a:pt x="194" y="242"/>
                    </a:lnTo>
                    <a:lnTo>
                      <a:pt x="182" y="234"/>
                    </a:lnTo>
                    <a:lnTo>
                      <a:pt x="182" y="230"/>
                    </a:lnTo>
                    <a:lnTo>
                      <a:pt x="178" y="190"/>
                    </a:lnTo>
                    <a:lnTo>
                      <a:pt x="169" y="154"/>
                    </a:lnTo>
                    <a:lnTo>
                      <a:pt x="169" y="150"/>
                    </a:lnTo>
                    <a:lnTo>
                      <a:pt x="165" y="150"/>
                    </a:lnTo>
                    <a:lnTo>
                      <a:pt x="165" y="141"/>
                    </a:lnTo>
                    <a:lnTo>
                      <a:pt x="161" y="125"/>
                    </a:lnTo>
                    <a:lnTo>
                      <a:pt x="145" y="125"/>
                    </a:lnTo>
                    <a:lnTo>
                      <a:pt x="141" y="109"/>
                    </a:lnTo>
                    <a:lnTo>
                      <a:pt x="141" y="105"/>
                    </a:lnTo>
                    <a:lnTo>
                      <a:pt x="141" y="97"/>
                    </a:lnTo>
                    <a:lnTo>
                      <a:pt x="161" y="49"/>
                    </a:lnTo>
                    <a:lnTo>
                      <a:pt x="169" y="29"/>
                    </a:lnTo>
                    <a:lnTo>
                      <a:pt x="194" y="16"/>
                    </a:lnTo>
                    <a:lnTo>
                      <a:pt x="218" y="0"/>
                    </a:lnTo>
                    <a:lnTo>
                      <a:pt x="234" y="0"/>
                    </a:lnTo>
                    <a:lnTo>
                      <a:pt x="250" y="0"/>
                    </a:lnTo>
                    <a:lnTo>
                      <a:pt x="258" y="24"/>
                    </a:lnTo>
                    <a:lnTo>
                      <a:pt x="262" y="49"/>
                    </a:lnTo>
                    <a:lnTo>
                      <a:pt x="266" y="57"/>
                    </a:lnTo>
                    <a:lnTo>
                      <a:pt x="270" y="57"/>
                    </a:lnTo>
                    <a:lnTo>
                      <a:pt x="311" y="65"/>
                    </a:lnTo>
                    <a:lnTo>
                      <a:pt x="323" y="69"/>
                    </a:lnTo>
                    <a:lnTo>
                      <a:pt x="323" y="85"/>
                    </a:lnTo>
                    <a:lnTo>
                      <a:pt x="323" y="101"/>
                    </a:lnTo>
                    <a:lnTo>
                      <a:pt x="327" y="113"/>
                    </a:lnTo>
                    <a:lnTo>
                      <a:pt x="335" y="125"/>
                    </a:lnTo>
                    <a:lnTo>
                      <a:pt x="335" y="133"/>
                    </a:lnTo>
                    <a:lnTo>
                      <a:pt x="343" y="133"/>
                    </a:lnTo>
                    <a:lnTo>
                      <a:pt x="343" y="137"/>
                    </a:lnTo>
                    <a:lnTo>
                      <a:pt x="343" y="146"/>
                    </a:lnTo>
                    <a:lnTo>
                      <a:pt x="351" y="146"/>
                    </a:lnTo>
                    <a:lnTo>
                      <a:pt x="363" y="141"/>
                    </a:lnTo>
                    <a:lnTo>
                      <a:pt x="375" y="137"/>
                    </a:lnTo>
                    <a:lnTo>
                      <a:pt x="387" y="133"/>
                    </a:lnTo>
                    <a:lnTo>
                      <a:pt x="391" y="121"/>
                    </a:lnTo>
                    <a:lnTo>
                      <a:pt x="403" y="109"/>
                    </a:lnTo>
                    <a:lnTo>
                      <a:pt x="416" y="105"/>
                    </a:lnTo>
                    <a:lnTo>
                      <a:pt x="428" y="105"/>
                    </a:lnTo>
                    <a:lnTo>
                      <a:pt x="440" y="97"/>
                    </a:lnTo>
                    <a:lnTo>
                      <a:pt x="444" y="85"/>
                    </a:lnTo>
                    <a:lnTo>
                      <a:pt x="476" y="93"/>
                    </a:lnTo>
                    <a:lnTo>
                      <a:pt x="516" y="101"/>
                    </a:lnTo>
                    <a:lnTo>
                      <a:pt x="520" y="105"/>
                    </a:lnTo>
                    <a:lnTo>
                      <a:pt x="529" y="113"/>
                    </a:lnTo>
                    <a:lnTo>
                      <a:pt x="545" y="113"/>
                    </a:lnTo>
                    <a:lnTo>
                      <a:pt x="553" y="113"/>
                    </a:lnTo>
                    <a:lnTo>
                      <a:pt x="565" y="105"/>
                    </a:lnTo>
                    <a:lnTo>
                      <a:pt x="573" y="97"/>
                    </a:lnTo>
                    <a:lnTo>
                      <a:pt x="577" y="93"/>
                    </a:lnTo>
                    <a:lnTo>
                      <a:pt x="581" y="85"/>
                    </a:lnTo>
                    <a:lnTo>
                      <a:pt x="593" y="85"/>
                    </a:lnTo>
                    <a:lnTo>
                      <a:pt x="605" y="85"/>
                    </a:lnTo>
                    <a:lnTo>
                      <a:pt x="605" y="97"/>
                    </a:lnTo>
                    <a:lnTo>
                      <a:pt x="609" y="101"/>
                    </a:lnTo>
                    <a:lnTo>
                      <a:pt x="637" y="105"/>
                    </a:lnTo>
                    <a:lnTo>
                      <a:pt x="650" y="109"/>
                    </a:lnTo>
                    <a:lnTo>
                      <a:pt x="654" y="109"/>
                    </a:lnTo>
                    <a:lnTo>
                      <a:pt x="654" y="113"/>
                    </a:lnTo>
                    <a:lnTo>
                      <a:pt x="654" y="146"/>
                    </a:lnTo>
                    <a:lnTo>
                      <a:pt x="654" y="182"/>
                    </a:lnTo>
                    <a:lnTo>
                      <a:pt x="662" y="186"/>
                    </a:lnTo>
                    <a:lnTo>
                      <a:pt x="666" y="190"/>
                    </a:lnTo>
                    <a:lnTo>
                      <a:pt x="666" y="214"/>
                    </a:lnTo>
                    <a:lnTo>
                      <a:pt x="666" y="238"/>
                    </a:lnTo>
                    <a:lnTo>
                      <a:pt x="662" y="242"/>
                    </a:lnTo>
                    <a:lnTo>
                      <a:pt x="658" y="246"/>
                    </a:lnTo>
                    <a:lnTo>
                      <a:pt x="658" y="275"/>
                    </a:lnTo>
                    <a:lnTo>
                      <a:pt x="662" y="295"/>
                    </a:lnTo>
                    <a:lnTo>
                      <a:pt x="662" y="303"/>
                    </a:lnTo>
                    <a:lnTo>
                      <a:pt x="666" y="303"/>
                    </a:lnTo>
                    <a:lnTo>
                      <a:pt x="666" y="315"/>
                    </a:lnTo>
                    <a:lnTo>
                      <a:pt x="666" y="331"/>
                    </a:lnTo>
                    <a:lnTo>
                      <a:pt x="658" y="347"/>
                    </a:lnTo>
                    <a:lnTo>
                      <a:pt x="654" y="363"/>
                    </a:lnTo>
                    <a:lnTo>
                      <a:pt x="645" y="375"/>
                    </a:lnTo>
                    <a:lnTo>
                      <a:pt x="633" y="384"/>
                    </a:lnTo>
                    <a:lnTo>
                      <a:pt x="633" y="400"/>
                    </a:lnTo>
                    <a:lnTo>
                      <a:pt x="633" y="416"/>
                    </a:lnTo>
                    <a:lnTo>
                      <a:pt x="637" y="420"/>
                    </a:lnTo>
                    <a:lnTo>
                      <a:pt x="637" y="432"/>
                    </a:lnTo>
                    <a:lnTo>
                      <a:pt x="633" y="436"/>
                    </a:lnTo>
                    <a:lnTo>
                      <a:pt x="633" y="444"/>
                    </a:lnTo>
                    <a:lnTo>
                      <a:pt x="629" y="444"/>
                    </a:lnTo>
                    <a:lnTo>
                      <a:pt x="621" y="448"/>
                    </a:lnTo>
                    <a:lnTo>
                      <a:pt x="617" y="464"/>
                    </a:lnTo>
                    <a:lnTo>
                      <a:pt x="609" y="472"/>
                    </a:lnTo>
                    <a:lnTo>
                      <a:pt x="609" y="497"/>
                    </a:lnTo>
                    <a:lnTo>
                      <a:pt x="609" y="513"/>
                    </a:lnTo>
                    <a:lnTo>
                      <a:pt x="621" y="521"/>
                    </a:lnTo>
                    <a:lnTo>
                      <a:pt x="633" y="533"/>
                    </a:lnTo>
                    <a:lnTo>
                      <a:pt x="637" y="537"/>
                    </a:lnTo>
                    <a:lnTo>
                      <a:pt x="650" y="549"/>
                    </a:lnTo>
                    <a:lnTo>
                      <a:pt x="650" y="561"/>
                    </a:lnTo>
                    <a:lnTo>
                      <a:pt x="650" y="581"/>
                    </a:lnTo>
                    <a:lnTo>
                      <a:pt x="658" y="601"/>
                    </a:lnTo>
                    <a:lnTo>
                      <a:pt x="666" y="630"/>
                    </a:lnTo>
                    <a:lnTo>
                      <a:pt x="674" y="650"/>
                    </a:lnTo>
                    <a:lnTo>
                      <a:pt x="682" y="670"/>
                    </a:lnTo>
                    <a:lnTo>
                      <a:pt x="682" y="690"/>
                    </a:lnTo>
                    <a:lnTo>
                      <a:pt x="682" y="706"/>
                    </a:lnTo>
                    <a:lnTo>
                      <a:pt x="670" y="718"/>
                    </a:lnTo>
                    <a:lnTo>
                      <a:pt x="662" y="726"/>
                    </a:lnTo>
                    <a:lnTo>
                      <a:pt x="658" y="731"/>
                    </a:lnTo>
                    <a:lnTo>
                      <a:pt x="662" y="779"/>
                    </a:lnTo>
                    <a:lnTo>
                      <a:pt x="670" y="819"/>
                    </a:lnTo>
                    <a:lnTo>
                      <a:pt x="682" y="835"/>
                    </a:lnTo>
                    <a:lnTo>
                      <a:pt x="698" y="848"/>
                    </a:lnTo>
                    <a:lnTo>
                      <a:pt x="698" y="864"/>
                    </a:lnTo>
                    <a:lnTo>
                      <a:pt x="698" y="880"/>
                    </a:lnTo>
                    <a:lnTo>
                      <a:pt x="702" y="892"/>
                    </a:lnTo>
                    <a:lnTo>
                      <a:pt x="710" y="940"/>
                    </a:lnTo>
                    <a:lnTo>
                      <a:pt x="714" y="960"/>
                    </a:lnTo>
                    <a:lnTo>
                      <a:pt x="722" y="973"/>
                    </a:lnTo>
                    <a:lnTo>
                      <a:pt x="722" y="997"/>
                    </a:lnTo>
                    <a:lnTo>
                      <a:pt x="726" y="1021"/>
                    </a:lnTo>
                    <a:lnTo>
                      <a:pt x="738" y="1025"/>
                    </a:lnTo>
                    <a:lnTo>
                      <a:pt x="742" y="1025"/>
                    </a:lnTo>
                    <a:lnTo>
                      <a:pt x="746" y="1057"/>
                    </a:lnTo>
                    <a:lnTo>
                      <a:pt x="746" y="1077"/>
                    </a:lnTo>
                    <a:lnTo>
                      <a:pt x="750" y="1086"/>
                    </a:lnTo>
                    <a:lnTo>
                      <a:pt x="750" y="1094"/>
                    </a:lnTo>
                    <a:lnTo>
                      <a:pt x="750" y="1110"/>
                    </a:lnTo>
                    <a:lnTo>
                      <a:pt x="750" y="1122"/>
                    </a:lnTo>
                    <a:lnTo>
                      <a:pt x="754" y="1138"/>
                    </a:lnTo>
                    <a:lnTo>
                      <a:pt x="762" y="1158"/>
                    </a:lnTo>
                    <a:lnTo>
                      <a:pt x="762" y="1166"/>
                    </a:lnTo>
                    <a:lnTo>
                      <a:pt x="762" y="1178"/>
                    </a:lnTo>
                    <a:lnTo>
                      <a:pt x="738" y="1194"/>
                    </a:lnTo>
                    <a:lnTo>
                      <a:pt x="714" y="1207"/>
                    </a:lnTo>
                    <a:lnTo>
                      <a:pt x="702" y="1211"/>
                    </a:lnTo>
                    <a:lnTo>
                      <a:pt x="690" y="1215"/>
                    </a:lnTo>
                    <a:lnTo>
                      <a:pt x="686" y="1219"/>
                    </a:lnTo>
                    <a:lnTo>
                      <a:pt x="674" y="1223"/>
                    </a:lnTo>
                    <a:lnTo>
                      <a:pt x="674" y="1231"/>
                    </a:lnTo>
                    <a:lnTo>
                      <a:pt x="670" y="1243"/>
                    </a:lnTo>
                    <a:lnTo>
                      <a:pt x="658" y="1320"/>
                    </a:lnTo>
                    <a:lnTo>
                      <a:pt x="654" y="1336"/>
                    </a:lnTo>
                    <a:lnTo>
                      <a:pt x="650" y="1344"/>
                    </a:lnTo>
                    <a:lnTo>
                      <a:pt x="637" y="1352"/>
                    </a:lnTo>
                    <a:lnTo>
                      <a:pt x="621" y="1352"/>
                    </a:lnTo>
                    <a:lnTo>
                      <a:pt x="609" y="135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800" dirty="0">
                  <a:cs typeface="+mn-cs"/>
                </a:endParaRPr>
              </a:p>
            </p:txBody>
          </p:sp>
          <p:sp>
            <p:nvSpPr>
              <p:cNvPr id="12" name="Freeform 21"/>
              <p:cNvSpPr>
                <a:spLocks/>
              </p:cNvSpPr>
              <p:nvPr/>
            </p:nvSpPr>
            <p:spPr bwMode="auto">
              <a:xfrm>
                <a:off x="6883489" y="4942099"/>
                <a:ext cx="847726" cy="1123625"/>
              </a:xfrm>
              <a:custGeom>
                <a:avLst/>
                <a:gdLst>
                  <a:gd name="T0" fmla="*/ 2147483647 w 944"/>
                  <a:gd name="T1" fmla="*/ 2147483647 h 1262"/>
                  <a:gd name="T2" fmla="*/ 2147483647 w 944"/>
                  <a:gd name="T3" fmla="*/ 2147483647 h 1262"/>
                  <a:gd name="T4" fmla="*/ 2147483647 w 944"/>
                  <a:gd name="T5" fmla="*/ 2147483647 h 1262"/>
                  <a:gd name="T6" fmla="*/ 2147483647 w 944"/>
                  <a:gd name="T7" fmla="*/ 2147483647 h 1262"/>
                  <a:gd name="T8" fmla="*/ 2147483647 w 944"/>
                  <a:gd name="T9" fmla="*/ 2147483647 h 1262"/>
                  <a:gd name="T10" fmla="*/ 2147483647 w 944"/>
                  <a:gd name="T11" fmla="*/ 2147483647 h 1262"/>
                  <a:gd name="T12" fmla="*/ 2147483647 w 944"/>
                  <a:gd name="T13" fmla="*/ 2147483647 h 1262"/>
                  <a:gd name="T14" fmla="*/ 2147483647 w 944"/>
                  <a:gd name="T15" fmla="*/ 2147483647 h 1262"/>
                  <a:gd name="T16" fmla="*/ 2147483647 w 944"/>
                  <a:gd name="T17" fmla="*/ 2147483647 h 1262"/>
                  <a:gd name="T18" fmla="*/ 2147483647 w 944"/>
                  <a:gd name="T19" fmla="*/ 2147483647 h 1262"/>
                  <a:gd name="T20" fmla="*/ 2147483647 w 944"/>
                  <a:gd name="T21" fmla="*/ 2147483647 h 1262"/>
                  <a:gd name="T22" fmla="*/ 2147483647 w 944"/>
                  <a:gd name="T23" fmla="*/ 2147483647 h 1262"/>
                  <a:gd name="T24" fmla="*/ 2147483647 w 944"/>
                  <a:gd name="T25" fmla="*/ 2147483647 h 1262"/>
                  <a:gd name="T26" fmla="*/ 2147483647 w 944"/>
                  <a:gd name="T27" fmla="*/ 2147483647 h 1262"/>
                  <a:gd name="T28" fmla="*/ 2147483647 w 944"/>
                  <a:gd name="T29" fmla="*/ 2147483647 h 1262"/>
                  <a:gd name="T30" fmla="*/ 2147483647 w 944"/>
                  <a:gd name="T31" fmla="*/ 2147483647 h 1262"/>
                  <a:gd name="T32" fmla="*/ 2147483647 w 944"/>
                  <a:gd name="T33" fmla="*/ 2147483647 h 1262"/>
                  <a:gd name="T34" fmla="*/ 2147483647 w 944"/>
                  <a:gd name="T35" fmla="*/ 2147483647 h 1262"/>
                  <a:gd name="T36" fmla="*/ 2147483647 w 944"/>
                  <a:gd name="T37" fmla="*/ 2147483647 h 1262"/>
                  <a:gd name="T38" fmla="*/ 2147483647 w 944"/>
                  <a:gd name="T39" fmla="*/ 2147483647 h 1262"/>
                  <a:gd name="T40" fmla="*/ 2147483647 w 944"/>
                  <a:gd name="T41" fmla="*/ 2147483647 h 1262"/>
                  <a:gd name="T42" fmla="*/ 2147483647 w 944"/>
                  <a:gd name="T43" fmla="*/ 2147483647 h 1262"/>
                  <a:gd name="T44" fmla="*/ 0 w 944"/>
                  <a:gd name="T45" fmla="*/ 2147483647 h 1262"/>
                  <a:gd name="T46" fmla="*/ 2147483647 w 944"/>
                  <a:gd name="T47" fmla="*/ 2147483647 h 1262"/>
                  <a:gd name="T48" fmla="*/ 2147483647 w 944"/>
                  <a:gd name="T49" fmla="*/ 2147483647 h 1262"/>
                  <a:gd name="T50" fmla="*/ 2147483647 w 944"/>
                  <a:gd name="T51" fmla="*/ 2147483647 h 1262"/>
                  <a:gd name="T52" fmla="*/ 2147483647 w 944"/>
                  <a:gd name="T53" fmla="*/ 2147483647 h 1262"/>
                  <a:gd name="T54" fmla="*/ 2147483647 w 944"/>
                  <a:gd name="T55" fmla="*/ 2147483647 h 1262"/>
                  <a:gd name="T56" fmla="*/ 2147483647 w 944"/>
                  <a:gd name="T57" fmla="*/ 2147483647 h 1262"/>
                  <a:gd name="T58" fmla="*/ 2147483647 w 944"/>
                  <a:gd name="T59" fmla="*/ 2147483647 h 1262"/>
                  <a:gd name="T60" fmla="*/ 2147483647 w 944"/>
                  <a:gd name="T61" fmla="*/ 2147483647 h 1262"/>
                  <a:gd name="T62" fmla="*/ 2147483647 w 944"/>
                  <a:gd name="T63" fmla="*/ 2147483647 h 1262"/>
                  <a:gd name="T64" fmla="*/ 2147483647 w 944"/>
                  <a:gd name="T65" fmla="*/ 2147483647 h 1262"/>
                  <a:gd name="T66" fmla="*/ 2147483647 w 944"/>
                  <a:gd name="T67" fmla="*/ 2147483647 h 1262"/>
                  <a:gd name="T68" fmla="*/ 2147483647 w 944"/>
                  <a:gd name="T69" fmla="*/ 2147483647 h 1262"/>
                  <a:gd name="T70" fmla="*/ 2147483647 w 944"/>
                  <a:gd name="T71" fmla="*/ 2147483647 h 1262"/>
                  <a:gd name="T72" fmla="*/ 2147483647 w 944"/>
                  <a:gd name="T73" fmla="*/ 2147483647 h 1262"/>
                  <a:gd name="T74" fmla="*/ 2147483647 w 944"/>
                  <a:gd name="T75" fmla="*/ 2147483647 h 1262"/>
                  <a:gd name="T76" fmla="*/ 2147483647 w 944"/>
                  <a:gd name="T77" fmla="*/ 2147483647 h 1262"/>
                  <a:gd name="T78" fmla="*/ 2147483647 w 944"/>
                  <a:gd name="T79" fmla="*/ 2147483647 h 1262"/>
                  <a:gd name="T80" fmla="*/ 2147483647 w 944"/>
                  <a:gd name="T81" fmla="*/ 2147483647 h 1262"/>
                  <a:gd name="T82" fmla="*/ 2147483647 w 944"/>
                  <a:gd name="T83" fmla="*/ 2147483647 h 1262"/>
                  <a:gd name="T84" fmla="*/ 2147483647 w 944"/>
                  <a:gd name="T85" fmla="*/ 2147483647 h 1262"/>
                  <a:gd name="T86" fmla="*/ 2147483647 w 944"/>
                  <a:gd name="T87" fmla="*/ 2147483647 h 1262"/>
                  <a:gd name="T88" fmla="*/ 2147483647 w 944"/>
                  <a:gd name="T89" fmla="*/ 2147483647 h 1262"/>
                  <a:gd name="T90" fmla="*/ 2147483647 w 944"/>
                  <a:gd name="T91" fmla="*/ 2147483647 h 1262"/>
                  <a:gd name="T92" fmla="*/ 2147483647 w 944"/>
                  <a:gd name="T93" fmla="*/ 2147483647 h 1262"/>
                  <a:gd name="T94" fmla="*/ 2147483647 w 944"/>
                  <a:gd name="T95" fmla="*/ 2147483647 h 1262"/>
                  <a:gd name="T96" fmla="*/ 2147483647 w 944"/>
                  <a:gd name="T97" fmla="*/ 2147483647 h 1262"/>
                  <a:gd name="T98" fmla="*/ 2147483647 w 944"/>
                  <a:gd name="T99" fmla="*/ 2147483647 h 1262"/>
                  <a:gd name="T100" fmla="*/ 2147483647 w 944"/>
                  <a:gd name="T101" fmla="*/ 2147483647 h 1262"/>
                  <a:gd name="T102" fmla="*/ 2147483647 w 944"/>
                  <a:gd name="T103" fmla="*/ 2147483647 h 1262"/>
                  <a:gd name="T104" fmla="*/ 2147483647 w 944"/>
                  <a:gd name="T105" fmla="*/ 2147483647 h 1262"/>
                  <a:gd name="T106" fmla="*/ 2147483647 w 944"/>
                  <a:gd name="T107" fmla="*/ 2147483647 h 1262"/>
                  <a:gd name="T108" fmla="*/ 2147483647 w 944"/>
                  <a:gd name="T109" fmla="*/ 2147483647 h 1262"/>
                  <a:gd name="T110" fmla="*/ 2147483647 w 944"/>
                  <a:gd name="T111" fmla="*/ 2147483647 h 126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944"/>
                  <a:gd name="T169" fmla="*/ 0 h 1262"/>
                  <a:gd name="T170" fmla="*/ 944 w 944"/>
                  <a:gd name="T171" fmla="*/ 1262 h 126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944" h="1262">
                    <a:moveTo>
                      <a:pt x="614" y="1262"/>
                    </a:moveTo>
                    <a:lnTo>
                      <a:pt x="622" y="1238"/>
                    </a:lnTo>
                    <a:lnTo>
                      <a:pt x="626" y="1218"/>
                    </a:lnTo>
                    <a:lnTo>
                      <a:pt x="626" y="1182"/>
                    </a:lnTo>
                    <a:lnTo>
                      <a:pt x="626" y="1145"/>
                    </a:lnTo>
                    <a:lnTo>
                      <a:pt x="622" y="1141"/>
                    </a:lnTo>
                    <a:lnTo>
                      <a:pt x="605" y="1133"/>
                    </a:lnTo>
                    <a:lnTo>
                      <a:pt x="589" y="1133"/>
                    </a:lnTo>
                    <a:lnTo>
                      <a:pt x="581" y="1133"/>
                    </a:lnTo>
                    <a:lnTo>
                      <a:pt x="573" y="1137"/>
                    </a:lnTo>
                    <a:lnTo>
                      <a:pt x="561" y="1141"/>
                    </a:lnTo>
                    <a:lnTo>
                      <a:pt x="545" y="1149"/>
                    </a:lnTo>
                    <a:lnTo>
                      <a:pt x="529" y="1166"/>
                    </a:lnTo>
                    <a:lnTo>
                      <a:pt x="521" y="1166"/>
                    </a:lnTo>
                    <a:lnTo>
                      <a:pt x="513" y="1162"/>
                    </a:lnTo>
                    <a:lnTo>
                      <a:pt x="513" y="1137"/>
                    </a:lnTo>
                    <a:lnTo>
                      <a:pt x="513" y="1121"/>
                    </a:lnTo>
                    <a:lnTo>
                      <a:pt x="505" y="1113"/>
                    </a:lnTo>
                    <a:lnTo>
                      <a:pt x="501" y="1109"/>
                    </a:lnTo>
                    <a:lnTo>
                      <a:pt x="497" y="1105"/>
                    </a:lnTo>
                    <a:lnTo>
                      <a:pt x="484" y="1105"/>
                    </a:lnTo>
                    <a:lnTo>
                      <a:pt x="476" y="1101"/>
                    </a:lnTo>
                    <a:lnTo>
                      <a:pt x="452" y="1085"/>
                    </a:lnTo>
                    <a:lnTo>
                      <a:pt x="432" y="1081"/>
                    </a:lnTo>
                    <a:lnTo>
                      <a:pt x="404" y="1069"/>
                    </a:lnTo>
                    <a:lnTo>
                      <a:pt x="384" y="1057"/>
                    </a:lnTo>
                    <a:lnTo>
                      <a:pt x="367" y="1045"/>
                    </a:lnTo>
                    <a:lnTo>
                      <a:pt x="347" y="1036"/>
                    </a:lnTo>
                    <a:lnTo>
                      <a:pt x="339" y="1036"/>
                    </a:lnTo>
                    <a:lnTo>
                      <a:pt x="327" y="1036"/>
                    </a:lnTo>
                    <a:lnTo>
                      <a:pt x="315" y="1036"/>
                    </a:lnTo>
                    <a:lnTo>
                      <a:pt x="303" y="1045"/>
                    </a:lnTo>
                    <a:lnTo>
                      <a:pt x="295" y="1049"/>
                    </a:lnTo>
                    <a:lnTo>
                      <a:pt x="279" y="1057"/>
                    </a:lnTo>
                    <a:lnTo>
                      <a:pt x="259" y="1065"/>
                    </a:lnTo>
                    <a:lnTo>
                      <a:pt x="255" y="1065"/>
                    </a:lnTo>
                    <a:lnTo>
                      <a:pt x="246" y="1065"/>
                    </a:lnTo>
                    <a:lnTo>
                      <a:pt x="226" y="1049"/>
                    </a:lnTo>
                    <a:lnTo>
                      <a:pt x="214" y="1032"/>
                    </a:lnTo>
                    <a:lnTo>
                      <a:pt x="206" y="1020"/>
                    </a:lnTo>
                    <a:lnTo>
                      <a:pt x="194" y="1012"/>
                    </a:lnTo>
                    <a:lnTo>
                      <a:pt x="174" y="1008"/>
                    </a:lnTo>
                    <a:lnTo>
                      <a:pt x="174" y="1012"/>
                    </a:lnTo>
                    <a:lnTo>
                      <a:pt x="170" y="1016"/>
                    </a:lnTo>
                    <a:lnTo>
                      <a:pt x="170" y="1024"/>
                    </a:lnTo>
                    <a:lnTo>
                      <a:pt x="138" y="1032"/>
                    </a:lnTo>
                    <a:lnTo>
                      <a:pt x="121" y="1036"/>
                    </a:lnTo>
                    <a:lnTo>
                      <a:pt x="109" y="1036"/>
                    </a:lnTo>
                    <a:lnTo>
                      <a:pt x="101" y="1045"/>
                    </a:lnTo>
                    <a:lnTo>
                      <a:pt x="97" y="1032"/>
                    </a:lnTo>
                    <a:lnTo>
                      <a:pt x="97" y="1020"/>
                    </a:lnTo>
                    <a:lnTo>
                      <a:pt x="93" y="1012"/>
                    </a:lnTo>
                    <a:lnTo>
                      <a:pt x="81" y="992"/>
                    </a:lnTo>
                    <a:lnTo>
                      <a:pt x="81" y="984"/>
                    </a:lnTo>
                    <a:lnTo>
                      <a:pt x="81" y="972"/>
                    </a:lnTo>
                    <a:lnTo>
                      <a:pt x="77" y="972"/>
                    </a:lnTo>
                    <a:lnTo>
                      <a:pt x="73" y="972"/>
                    </a:lnTo>
                    <a:lnTo>
                      <a:pt x="73" y="964"/>
                    </a:lnTo>
                    <a:lnTo>
                      <a:pt x="73" y="948"/>
                    </a:lnTo>
                    <a:lnTo>
                      <a:pt x="73" y="944"/>
                    </a:lnTo>
                    <a:lnTo>
                      <a:pt x="77" y="940"/>
                    </a:lnTo>
                    <a:lnTo>
                      <a:pt x="97" y="936"/>
                    </a:lnTo>
                    <a:lnTo>
                      <a:pt x="109" y="928"/>
                    </a:lnTo>
                    <a:lnTo>
                      <a:pt x="125" y="928"/>
                    </a:lnTo>
                    <a:lnTo>
                      <a:pt x="133" y="923"/>
                    </a:lnTo>
                    <a:lnTo>
                      <a:pt x="142" y="919"/>
                    </a:lnTo>
                    <a:lnTo>
                      <a:pt x="154" y="919"/>
                    </a:lnTo>
                    <a:lnTo>
                      <a:pt x="170" y="899"/>
                    </a:lnTo>
                    <a:lnTo>
                      <a:pt x="182" y="887"/>
                    </a:lnTo>
                    <a:lnTo>
                      <a:pt x="186" y="883"/>
                    </a:lnTo>
                    <a:lnTo>
                      <a:pt x="194" y="883"/>
                    </a:lnTo>
                    <a:lnTo>
                      <a:pt x="206" y="863"/>
                    </a:lnTo>
                    <a:lnTo>
                      <a:pt x="210" y="851"/>
                    </a:lnTo>
                    <a:lnTo>
                      <a:pt x="214" y="843"/>
                    </a:lnTo>
                    <a:lnTo>
                      <a:pt x="218" y="827"/>
                    </a:lnTo>
                    <a:lnTo>
                      <a:pt x="226" y="827"/>
                    </a:lnTo>
                    <a:lnTo>
                      <a:pt x="238" y="815"/>
                    </a:lnTo>
                    <a:lnTo>
                      <a:pt x="242" y="794"/>
                    </a:lnTo>
                    <a:lnTo>
                      <a:pt x="250" y="782"/>
                    </a:lnTo>
                    <a:lnTo>
                      <a:pt x="250" y="766"/>
                    </a:lnTo>
                    <a:lnTo>
                      <a:pt x="246" y="746"/>
                    </a:lnTo>
                    <a:lnTo>
                      <a:pt x="246" y="738"/>
                    </a:lnTo>
                    <a:lnTo>
                      <a:pt x="242" y="730"/>
                    </a:lnTo>
                    <a:lnTo>
                      <a:pt x="222" y="722"/>
                    </a:lnTo>
                    <a:lnTo>
                      <a:pt x="206" y="710"/>
                    </a:lnTo>
                    <a:lnTo>
                      <a:pt x="206" y="698"/>
                    </a:lnTo>
                    <a:lnTo>
                      <a:pt x="206" y="685"/>
                    </a:lnTo>
                    <a:lnTo>
                      <a:pt x="218" y="677"/>
                    </a:lnTo>
                    <a:lnTo>
                      <a:pt x="234" y="661"/>
                    </a:lnTo>
                    <a:lnTo>
                      <a:pt x="238" y="661"/>
                    </a:lnTo>
                    <a:lnTo>
                      <a:pt x="246" y="661"/>
                    </a:lnTo>
                    <a:lnTo>
                      <a:pt x="275" y="621"/>
                    </a:lnTo>
                    <a:lnTo>
                      <a:pt x="287" y="605"/>
                    </a:lnTo>
                    <a:lnTo>
                      <a:pt x="303" y="605"/>
                    </a:lnTo>
                    <a:lnTo>
                      <a:pt x="323" y="605"/>
                    </a:lnTo>
                    <a:lnTo>
                      <a:pt x="327" y="601"/>
                    </a:lnTo>
                    <a:lnTo>
                      <a:pt x="331" y="597"/>
                    </a:lnTo>
                    <a:lnTo>
                      <a:pt x="331" y="593"/>
                    </a:lnTo>
                    <a:lnTo>
                      <a:pt x="331" y="585"/>
                    </a:lnTo>
                    <a:lnTo>
                      <a:pt x="327" y="585"/>
                    </a:lnTo>
                    <a:lnTo>
                      <a:pt x="327" y="577"/>
                    </a:lnTo>
                    <a:lnTo>
                      <a:pt x="303" y="564"/>
                    </a:lnTo>
                    <a:lnTo>
                      <a:pt x="295" y="556"/>
                    </a:lnTo>
                    <a:lnTo>
                      <a:pt x="283" y="548"/>
                    </a:lnTo>
                    <a:lnTo>
                      <a:pt x="279" y="548"/>
                    </a:lnTo>
                    <a:lnTo>
                      <a:pt x="271" y="536"/>
                    </a:lnTo>
                    <a:lnTo>
                      <a:pt x="267" y="524"/>
                    </a:lnTo>
                    <a:lnTo>
                      <a:pt x="259" y="512"/>
                    </a:lnTo>
                    <a:lnTo>
                      <a:pt x="259" y="500"/>
                    </a:lnTo>
                    <a:lnTo>
                      <a:pt x="255" y="492"/>
                    </a:lnTo>
                    <a:lnTo>
                      <a:pt x="250" y="484"/>
                    </a:lnTo>
                    <a:lnTo>
                      <a:pt x="250" y="480"/>
                    </a:lnTo>
                    <a:lnTo>
                      <a:pt x="250" y="476"/>
                    </a:lnTo>
                    <a:lnTo>
                      <a:pt x="238" y="472"/>
                    </a:lnTo>
                    <a:lnTo>
                      <a:pt x="222" y="472"/>
                    </a:lnTo>
                    <a:lnTo>
                      <a:pt x="206" y="464"/>
                    </a:lnTo>
                    <a:lnTo>
                      <a:pt x="194" y="455"/>
                    </a:lnTo>
                    <a:lnTo>
                      <a:pt x="182" y="431"/>
                    </a:lnTo>
                    <a:lnTo>
                      <a:pt x="170" y="399"/>
                    </a:lnTo>
                    <a:lnTo>
                      <a:pt x="162" y="383"/>
                    </a:lnTo>
                    <a:lnTo>
                      <a:pt x="162" y="367"/>
                    </a:lnTo>
                    <a:lnTo>
                      <a:pt x="154" y="330"/>
                    </a:lnTo>
                    <a:lnTo>
                      <a:pt x="142" y="318"/>
                    </a:lnTo>
                    <a:lnTo>
                      <a:pt x="121" y="318"/>
                    </a:lnTo>
                    <a:lnTo>
                      <a:pt x="101" y="318"/>
                    </a:lnTo>
                    <a:lnTo>
                      <a:pt x="93" y="322"/>
                    </a:lnTo>
                    <a:lnTo>
                      <a:pt x="77" y="326"/>
                    </a:lnTo>
                    <a:lnTo>
                      <a:pt x="73" y="326"/>
                    </a:lnTo>
                    <a:lnTo>
                      <a:pt x="69" y="326"/>
                    </a:lnTo>
                    <a:lnTo>
                      <a:pt x="49" y="318"/>
                    </a:lnTo>
                    <a:lnTo>
                      <a:pt x="33" y="310"/>
                    </a:lnTo>
                    <a:lnTo>
                      <a:pt x="29" y="278"/>
                    </a:lnTo>
                    <a:lnTo>
                      <a:pt x="25" y="246"/>
                    </a:lnTo>
                    <a:lnTo>
                      <a:pt x="12" y="213"/>
                    </a:lnTo>
                    <a:lnTo>
                      <a:pt x="4" y="189"/>
                    </a:lnTo>
                    <a:lnTo>
                      <a:pt x="4" y="185"/>
                    </a:lnTo>
                    <a:lnTo>
                      <a:pt x="0" y="185"/>
                    </a:lnTo>
                    <a:lnTo>
                      <a:pt x="0" y="177"/>
                    </a:lnTo>
                    <a:lnTo>
                      <a:pt x="0" y="169"/>
                    </a:lnTo>
                    <a:lnTo>
                      <a:pt x="12" y="153"/>
                    </a:lnTo>
                    <a:lnTo>
                      <a:pt x="21" y="145"/>
                    </a:lnTo>
                    <a:lnTo>
                      <a:pt x="25" y="133"/>
                    </a:lnTo>
                    <a:lnTo>
                      <a:pt x="29" y="113"/>
                    </a:lnTo>
                    <a:lnTo>
                      <a:pt x="53" y="109"/>
                    </a:lnTo>
                    <a:lnTo>
                      <a:pt x="73" y="100"/>
                    </a:lnTo>
                    <a:lnTo>
                      <a:pt x="81" y="96"/>
                    </a:lnTo>
                    <a:lnTo>
                      <a:pt x="85" y="88"/>
                    </a:lnTo>
                    <a:lnTo>
                      <a:pt x="97" y="88"/>
                    </a:lnTo>
                    <a:lnTo>
                      <a:pt x="105" y="88"/>
                    </a:lnTo>
                    <a:lnTo>
                      <a:pt x="109" y="84"/>
                    </a:lnTo>
                    <a:lnTo>
                      <a:pt x="121" y="68"/>
                    </a:lnTo>
                    <a:lnTo>
                      <a:pt x="125" y="48"/>
                    </a:lnTo>
                    <a:lnTo>
                      <a:pt x="125" y="24"/>
                    </a:lnTo>
                    <a:lnTo>
                      <a:pt x="133" y="20"/>
                    </a:lnTo>
                    <a:lnTo>
                      <a:pt x="138" y="12"/>
                    </a:lnTo>
                    <a:lnTo>
                      <a:pt x="170" y="4"/>
                    </a:lnTo>
                    <a:lnTo>
                      <a:pt x="194" y="0"/>
                    </a:lnTo>
                    <a:lnTo>
                      <a:pt x="206" y="0"/>
                    </a:lnTo>
                    <a:lnTo>
                      <a:pt x="218" y="0"/>
                    </a:lnTo>
                    <a:lnTo>
                      <a:pt x="222" y="12"/>
                    </a:lnTo>
                    <a:lnTo>
                      <a:pt x="234" y="24"/>
                    </a:lnTo>
                    <a:lnTo>
                      <a:pt x="250" y="48"/>
                    </a:lnTo>
                    <a:lnTo>
                      <a:pt x="275" y="64"/>
                    </a:lnTo>
                    <a:lnTo>
                      <a:pt x="275" y="109"/>
                    </a:lnTo>
                    <a:lnTo>
                      <a:pt x="271" y="149"/>
                    </a:lnTo>
                    <a:lnTo>
                      <a:pt x="267" y="153"/>
                    </a:lnTo>
                    <a:lnTo>
                      <a:pt x="259" y="161"/>
                    </a:lnTo>
                    <a:lnTo>
                      <a:pt x="259" y="173"/>
                    </a:lnTo>
                    <a:lnTo>
                      <a:pt x="255" y="177"/>
                    </a:lnTo>
                    <a:lnTo>
                      <a:pt x="255" y="189"/>
                    </a:lnTo>
                    <a:lnTo>
                      <a:pt x="259" y="201"/>
                    </a:lnTo>
                    <a:lnTo>
                      <a:pt x="259" y="230"/>
                    </a:lnTo>
                    <a:lnTo>
                      <a:pt x="259" y="250"/>
                    </a:lnTo>
                    <a:lnTo>
                      <a:pt x="267" y="266"/>
                    </a:lnTo>
                    <a:lnTo>
                      <a:pt x="271" y="290"/>
                    </a:lnTo>
                    <a:lnTo>
                      <a:pt x="275" y="294"/>
                    </a:lnTo>
                    <a:lnTo>
                      <a:pt x="279" y="310"/>
                    </a:lnTo>
                    <a:lnTo>
                      <a:pt x="283" y="322"/>
                    </a:lnTo>
                    <a:lnTo>
                      <a:pt x="303" y="359"/>
                    </a:lnTo>
                    <a:lnTo>
                      <a:pt x="315" y="367"/>
                    </a:lnTo>
                    <a:lnTo>
                      <a:pt x="319" y="375"/>
                    </a:lnTo>
                    <a:lnTo>
                      <a:pt x="323" y="379"/>
                    </a:lnTo>
                    <a:lnTo>
                      <a:pt x="380" y="379"/>
                    </a:lnTo>
                    <a:lnTo>
                      <a:pt x="436" y="379"/>
                    </a:lnTo>
                    <a:lnTo>
                      <a:pt x="448" y="363"/>
                    </a:lnTo>
                    <a:lnTo>
                      <a:pt x="464" y="343"/>
                    </a:lnTo>
                    <a:lnTo>
                      <a:pt x="464" y="338"/>
                    </a:lnTo>
                    <a:lnTo>
                      <a:pt x="468" y="322"/>
                    </a:lnTo>
                    <a:lnTo>
                      <a:pt x="476" y="306"/>
                    </a:lnTo>
                    <a:lnTo>
                      <a:pt x="493" y="290"/>
                    </a:lnTo>
                    <a:lnTo>
                      <a:pt x="493" y="274"/>
                    </a:lnTo>
                    <a:lnTo>
                      <a:pt x="497" y="250"/>
                    </a:lnTo>
                    <a:lnTo>
                      <a:pt x="513" y="234"/>
                    </a:lnTo>
                    <a:lnTo>
                      <a:pt x="525" y="230"/>
                    </a:lnTo>
                    <a:lnTo>
                      <a:pt x="533" y="230"/>
                    </a:lnTo>
                    <a:lnTo>
                      <a:pt x="549" y="230"/>
                    </a:lnTo>
                    <a:lnTo>
                      <a:pt x="553" y="226"/>
                    </a:lnTo>
                    <a:lnTo>
                      <a:pt x="553" y="217"/>
                    </a:lnTo>
                    <a:lnTo>
                      <a:pt x="557" y="209"/>
                    </a:lnTo>
                    <a:lnTo>
                      <a:pt x="561" y="189"/>
                    </a:lnTo>
                    <a:lnTo>
                      <a:pt x="569" y="181"/>
                    </a:lnTo>
                    <a:lnTo>
                      <a:pt x="577" y="173"/>
                    </a:lnTo>
                    <a:lnTo>
                      <a:pt x="589" y="169"/>
                    </a:lnTo>
                    <a:lnTo>
                      <a:pt x="605" y="161"/>
                    </a:lnTo>
                    <a:lnTo>
                      <a:pt x="614" y="161"/>
                    </a:lnTo>
                    <a:lnTo>
                      <a:pt x="626" y="161"/>
                    </a:lnTo>
                    <a:lnTo>
                      <a:pt x="634" y="169"/>
                    </a:lnTo>
                    <a:lnTo>
                      <a:pt x="638" y="177"/>
                    </a:lnTo>
                    <a:lnTo>
                      <a:pt x="646" y="181"/>
                    </a:lnTo>
                    <a:lnTo>
                      <a:pt x="662" y="185"/>
                    </a:lnTo>
                    <a:lnTo>
                      <a:pt x="694" y="189"/>
                    </a:lnTo>
                    <a:lnTo>
                      <a:pt x="722" y="189"/>
                    </a:lnTo>
                    <a:lnTo>
                      <a:pt x="735" y="185"/>
                    </a:lnTo>
                    <a:lnTo>
                      <a:pt x="751" y="181"/>
                    </a:lnTo>
                    <a:lnTo>
                      <a:pt x="763" y="177"/>
                    </a:lnTo>
                    <a:lnTo>
                      <a:pt x="771" y="173"/>
                    </a:lnTo>
                    <a:lnTo>
                      <a:pt x="819" y="169"/>
                    </a:lnTo>
                    <a:lnTo>
                      <a:pt x="835" y="161"/>
                    </a:lnTo>
                    <a:lnTo>
                      <a:pt x="844" y="153"/>
                    </a:lnTo>
                    <a:lnTo>
                      <a:pt x="852" y="149"/>
                    </a:lnTo>
                    <a:lnTo>
                      <a:pt x="868" y="149"/>
                    </a:lnTo>
                    <a:lnTo>
                      <a:pt x="880" y="149"/>
                    </a:lnTo>
                    <a:lnTo>
                      <a:pt x="884" y="153"/>
                    </a:lnTo>
                    <a:lnTo>
                      <a:pt x="900" y="173"/>
                    </a:lnTo>
                    <a:lnTo>
                      <a:pt x="900" y="185"/>
                    </a:lnTo>
                    <a:lnTo>
                      <a:pt x="900" y="197"/>
                    </a:lnTo>
                    <a:lnTo>
                      <a:pt x="900" y="201"/>
                    </a:lnTo>
                    <a:lnTo>
                      <a:pt x="896" y="209"/>
                    </a:lnTo>
                    <a:lnTo>
                      <a:pt x="872" y="209"/>
                    </a:lnTo>
                    <a:lnTo>
                      <a:pt x="844" y="209"/>
                    </a:lnTo>
                    <a:lnTo>
                      <a:pt x="831" y="217"/>
                    </a:lnTo>
                    <a:lnTo>
                      <a:pt x="815" y="226"/>
                    </a:lnTo>
                    <a:lnTo>
                      <a:pt x="803" y="238"/>
                    </a:lnTo>
                    <a:lnTo>
                      <a:pt x="787" y="250"/>
                    </a:lnTo>
                    <a:lnTo>
                      <a:pt x="791" y="290"/>
                    </a:lnTo>
                    <a:lnTo>
                      <a:pt x="791" y="302"/>
                    </a:lnTo>
                    <a:lnTo>
                      <a:pt x="807" y="302"/>
                    </a:lnTo>
                    <a:lnTo>
                      <a:pt x="819" y="306"/>
                    </a:lnTo>
                    <a:lnTo>
                      <a:pt x="831" y="314"/>
                    </a:lnTo>
                    <a:lnTo>
                      <a:pt x="848" y="318"/>
                    </a:lnTo>
                    <a:lnTo>
                      <a:pt x="852" y="326"/>
                    </a:lnTo>
                    <a:lnTo>
                      <a:pt x="856" y="330"/>
                    </a:lnTo>
                    <a:lnTo>
                      <a:pt x="856" y="343"/>
                    </a:lnTo>
                    <a:lnTo>
                      <a:pt x="856" y="363"/>
                    </a:lnTo>
                    <a:lnTo>
                      <a:pt x="848" y="379"/>
                    </a:lnTo>
                    <a:lnTo>
                      <a:pt x="835" y="391"/>
                    </a:lnTo>
                    <a:lnTo>
                      <a:pt x="835" y="395"/>
                    </a:lnTo>
                    <a:lnTo>
                      <a:pt x="835" y="403"/>
                    </a:lnTo>
                    <a:lnTo>
                      <a:pt x="839" y="415"/>
                    </a:lnTo>
                    <a:lnTo>
                      <a:pt x="848" y="427"/>
                    </a:lnTo>
                    <a:lnTo>
                      <a:pt x="880" y="435"/>
                    </a:lnTo>
                    <a:lnTo>
                      <a:pt x="896" y="451"/>
                    </a:lnTo>
                    <a:lnTo>
                      <a:pt x="916" y="472"/>
                    </a:lnTo>
                    <a:lnTo>
                      <a:pt x="924" y="480"/>
                    </a:lnTo>
                    <a:lnTo>
                      <a:pt x="924" y="512"/>
                    </a:lnTo>
                    <a:lnTo>
                      <a:pt x="920" y="528"/>
                    </a:lnTo>
                    <a:lnTo>
                      <a:pt x="916" y="528"/>
                    </a:lnTo>
                    <a:lnTo>
                      <a:pt x="912" y="532"/>
                    </a:lnTo>
                    <a:lnTo>
                      <a:pt x="884" y="540"/>
                    </a:lnTo>
                    <a:lnTo>
                      <a:pt x="848" y="548"/>
                    </a:lnTo>
                    <a:lnTo>
                      <a:pt x="839" y="556"/>
                    </a:lnTo>
                    <a:lnTo>
                      <a:pt x="827" y="564"/>
                    </a:lnTo>
                    <a:lnTo>
                      <a:pt x="819" y="593"/>
                    </a:lnTo>
                    <a:lnTo>
                      <a:pt x="811" y="621"/>
                    </a:lnTo>
                    <a:lnTo>
                      <a:pt x="791" y="637"/>
                    </a:lnTo>
                    <a:lnTo>
                      <a:pt x="783" y="649"/>
                    </a:lnTo>
                    <a:lnTo>
                      <a:pt x="783" y="661"/>
                    </a:lnTo>
                    <a:lnTo>
                      <a:pt x="787" y="677"/>
                    </a:lnTo>
                    <a:lnTo>
                      <a:pt x="791" y="677"/>
                    </a:lnTo>
                    <a:lnTo>
                      <a:pt x="803" y="681"/>
                    </a:lnTo>
                    <a:lnTo>
                      <a:pt x="807" y="689"/>
                    </a:lnTo>
                    <a:lnTo>
                      <a:pt x="815" y="702"/>
                    </a:lnTo>
                    <a:lnTo>
                      <a:pt x="819" y="714"/>
                    </a:lnTo>
                    <a:lnTo>
                      <a:pt x="827" y="726"/>
                    </a:lnTo>
                    <a:lnTo>
                      <a:pt x="827" y="750"/>
                    </a:lnTo>
                    <a:lnTo>
                      <a:pt x="831" y="782"/>
                    </a:lnTo>
                    <a:lnTo>
                      <a:pt x="839" y="790"/>
                    </a:lnTo>
                    <a:lnTo>
                      <a:pt x="848" y="794"/>
                    </a:lnTo>
                    <a:lnTo>
                      <a:pt x="864" y="819"/>
                    </a:lnTo>
                    <a:lnTo>
                      <a:pt x="880" y="831"/>
                    </a:lnTo>
                    <a:lnTo>
                      <a:pt x="884" y="851"/>
                    </a:lnTo>
                    <a:lnTo>
                      <a:pt x="888" y="867"/>
                    </a:lnTo>
                    <a:lnTo>
                      <a:pt x="892" y="879"/>
                    </a:lnTo>
                    <a:lnTo>
                      <a:pt x="900" y="883"/>
                    </a:lnTo>
                    <a:lnTo>
                      <a:pt x="900" y="903"/>
                    </a:lnTo>
                    <a:lnTo>
                      <a:pt x="900" y="923"/>
                    </a:lnTo>
                    <a:lnTo>
                      <a:pt x="900" y="928"/>
                    </a:lnTo>
                    <a:lnTo>
                      <a:pt x="896" y="932"/>
                    </a:lnTo>
                    <a:lnTo>
                      <a:pt x="892" y="936"/>
                    </a:lnTo>
                    <a:lnTo>
                      <a:pt x="892" y="944"/>
                    </a:lnTo>
                    <a:lnTo>
                      <a:pt x="892" y="964"/>
                    </a:lnTo>
                    <a:lnTo>
                      <a:pt x="892" y="976"/>
                    </a:lnTo>
                    <a:lnTo>
                      <a:pt x="892" y="984"/>
                    </a:lnTo>
                    <a:lnTo>
                      <a:pt x="896" y="992"/>
                    </a:lnTo>
                    <a:lnTo>
                      <a:pt x="900" y="992"/>
                    </a:lnTo>
                    <a:lnTo>
                      <a:pt x="900" y="996"/>
                    </a:lnTo>
                    <a:lnTo>
                      <a:pt x="904" y="1008"/>
                    </a:lnTo>
                    <a:lnTo>
                      <a:pt x="904" y="1016"/>
                    </a:lnTo>
                    <a:lnTo>
                      <a:pt x="920" y="1020"/>
                    </a:lnTo>
                    <a:lnTo>
                      <a:pt x="932" y="1032"/>
                    </a:lnTo>
                    <a:lnTo>
                      <a:pt x="940" y="1036"/>
                    </a:lnTo>
                    <a:lnTo>
                      <a:pt x="944" y="1049"/>
                    </a:lnTo>
                    <a:lnTo>
                      <a:pt x="944" y="1065"/>
                    </a:lnTo>
                    <a:lnTo>
                      <a:pt x="944" y="1085"/>
                    </a:lnTo>
                    <a:lnTo>
                      <a:pt x="932" y="1125"/>
                    </a:lnTo>
                    <a:lnTo>
                      <a:pt x="924" y="1157"/>
                    </a:lnTo>
                    <a:lnTo>
                      <a:pt x="920" y="1149"/>
                    </a:lnTo>
                    <a:lnTo>
                      <a:pt x="916" y="1145"/>
                    </a:lnTo>
                    <a:lnTo>
                      <a:pt x="904" y="1125"/>
                    </a:lnTo>
                    <a:lnTo>
                      <a:pt x="896" y="1101"/>
                    </a:lnTo>
                    <a:lnTo>
                      <a:pt x="888" y="1085"/>
                    </a:lnTo>
                    <a:lnTo>
                      <a:pt x="872" y="1073"/>
                    </a:lnTo>
                    <a:lnTo>
                      <a:pt x="872" y="1061"/>
                    </a:lnTo>
                    <a:lnTo>
                      <a:pt x="864" y="1057"/>
                    </a:lnTo>
                    <a:lnTo>
                      <a:pt x="848" y="1057"/>
                    </a:lnTo>
                    <a:lnTo>
                      <a:pt x="831" y="1057"/>
                    </a:lnTo>
                    <a:lnTo>
                      <a:pt x="831" y="1061"/>
                    </a:lnTo>
                    <a:lnTo>
                      <a:pt x="807" y="1065"/>
                    </a:lnTo>
                    <a:lnTo>
                      <a:pt x="799" y="1073"/>
                    </a:lnTo>
                    <a:lnTo>
                      <a:pt x="791" y="1085"/>
                    </a:lnTo>
                    <a:lnTo>
                      <a:pt x="799" y="1133"/>
                    </a:lnTo>
                    <a:lnTo>
                      <a:pt x="787" y="1137"/>
                    </a:lnTo>
                    <a:lnTo>
                      <a:pt x="779" y="1145"/>
                    </a:lnTo>
                    <a:lnTo>
                      <a:pt x="775" y="1157"/>
                    </a:lnTo>
                    <a:lnTo>
                      <a:pt x="771" y="1162"/>
                    </a:lnTo>
                    <a:lnTo>
                      <a:pt x="771" y="1186"/>
                    </a:lnTo>
                    <a:lnTo>
                      <a:pt x="771" y="1210"/>
                    </a:lnTo>
                    <a:lnTo>
                      <a:pt x="767" y="1210"/>
                    </a:lnTo>
                    <a:lnTo>
                      <a:pt x="767" y="1214"/>
                    </a:lnTo>
                    <a:lnTo>
                      <a:pt x="747" y="1218"/>
                    </a:lnTo>
                    <a:lnTo>
                      <a:pt x="727" y="1222"/>
                    </a:lnTo>
                    <a:lnTo>
                      <a:pt x="718" y="1230"/>
                    </a:lnTo>
                    <a:lnTo>
                      <a:pt x="714" y="1242"/>
                    </a:lnTo>
                    <a:lnTo>
                      <a:pt x="698" y="1250"/>
                    </a:lnTo>
                    <a:lnTo>
                      <a:pt x="678" y="1258"/>
                    </a:lnTo>
                    <a:lnTo>
                      <a:pt x="646" y="1258"/>
                    </a:lnTo>
                    <a:lnTo>
                      <a:pt x="614" y="126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13" name="Freeform 22"/>
              <p:cNvSpPr>
                <a:spLocks/>
              </p:cNvSpPr>
              <p:nvPr/>
            </p:nvSpPr>
            <p:spPr bwMode="auto">
              <a:xfrm>
                <a:off x="3879937" y="4797797"/>
                <a:ext cx="1274763" cy="1164159"/>
              </a:xfrm>
              <a:custGeom>
                <a:avLst/>
                <a:gdLst>
                  <a:gd name="T0" fmla="*/ 2147483647 w 1420"/>
                  <a:gd name="T1" fmla="*/ 2147483647 h 1307"/>
                  <a:gd name="T2" fmla="*/ 2147483647 w 1420"/>
                  <a:gd name="T3" fmla="*/ 2147483647 h 1307"/>
                  <a:gd name="T4" fmla="*/ 2147483647 w 1420"/>
                  <a:gd name="T5" fmla="*/ 2147483647 h 1307"/>
                  <a:gd name="T6" fmla="*/ 2147483647 w 1420"/>
                  <a:gd name="T7" fmla="*/ 2147483647 h 1307"/>
                  <a:gd name="T8" fmla="*/ 2147483647 w 1420"/>
                  <a:gd name="T9" fmla="*/ 2147483647 h 1307"/>
                  <a:gd name="T10" fmla="*/ 2147483647 w 1420"/>
                  <a:gd name="T11" fmla="*/ 2147483647 h 1307"/>
                  <a:gd name="T12" fmla="*/ 2147483647 w 1420"/>
                  <a:gd name="T13" fmla="*/ 2147483647 h 1307"/>
                  <a:gd name="T14" fmla="*/ 2147483647 w 1420"/>
                  <a:gd name="T15" fmla="*/ 2147483647 h 1307"/>
                  <a:gd name="T16" fmla="*/ 2147483647 w 1420"/>
                  <a:gd name="T17" fmla="*/ 2147483647 h 1307"/>
                  <a:gd name="T18" fmla="*/ 0 w 1420"/>
                  <a:gd name="T19" fmla="*/ 2147483647 h 1307"/>
                  <a:gd name="T20" fmla="*/ 2147483647 w 1420"/>
                  <a:gd name="T21" fmla="*/ 2147483647 h 1307"/>
                  <a:gd name="T22" fmla="*/ 2147483647 w 1420"/>
                  <a:gd name="T23" fmla="*/ 2147483647 h 1307"/>
                  <a:gd name="T24" fmla="*/ 2147483647 w 1420"/>
                  <a:gd name="T25" fmla="*/ 2147483647 h 1307"/>
                  <a:gd name="T26" fmla="*/ 2147483647 w 1420"/>
                  <a:gd name="T27" fmla="*/ 2147483647 h 1307"/>
                  <a:gd name="T28" fmla="*/ 2147483647 w 1420"/>
                  <a:gd name="T29" fmla="*/ 2147483647 h 1307"/>
                  <a:gd name="T30" fmla="*/ 2147483647 w 1420"/>
                  <a:gd name="T31" fmla="*/ 2147483647 h 1307"/>
                  <a:gd name="T32" fmla="*/ 2147483647 w 1420"/>
                  <a:gd name="T33" fmla="*/ 2147483647 h 1307"/>
                  <a:gd name="T34" fmla="*/ 2147483647 w 1420"/>
                  <a:gd name="T35" fmla="*/ 2147483647 h 1307"/>
                  <a:gd name="T36" fmla="*/ 2147483647 w 1420"/>
                  <a:gd name="T37" fmla="*/ 2147483647 h 1307"/>
                  <a:gd name="T38" fmla="*/ 2147483647 w 1420"/>
                  <a:gd name="T39" fmla="*/ 2147483647 h 1307"/>
                  <a:gd name="T40" fmla="*/ 2147483647 w 1420"/>
                  <a:gd name="T41" fmla="*/ 2147483647 h 1307"/>
                  <a:gd name="T42" fmla="*/ 2147483647 w 1420"/>
                  <a:gd name="T43" fmla="*/ 2147483647 h 1307"/>
                  <a:gd name="T44" fmla="*/ 2147483647 w 1420"/>
                  <a:gd name="T45" fmla="*/ 2147483647 h 1307"/>
                  <a:gd name="T46" fmla="*/ 2147483647 w 1420"/>
                  <a:gd name="T47" fmla="*/ 2147483647 h 1307"/>
                  <a:gd name="T48" fmla="*/ 2147483647 w 1420"/>
                  <a:gd name="T49" fmla="*/ 2147483647 h 1307"/>
                  <a:gd name="T50" fmla="*/ 2147483647 w 1420"/>
                  <a:gd name="T51" fmla="*/ 2147483647 h 1307"/>
                  <a:gd name="T52" fmla="*/ 2147483647 w 1420"/>
                  <a:gd name="T53" fmla="*/ 2147483647 h 1307"/>
                  <a:gd name="T54" fmla="*/ 2147483647 w 1420"/>
                  <a:gd name="T55" fmla="*/ 2147483647 h 1307"/>
                  <a:gd name="T56" fmla="*/ 2147483647 w 1420"/>
                  <a:gd name="T57" fmla="*/ 2147483647 h 1307"/>
                  <a:gd name="T58" fmla="*/ 2147483647 w 1420"/>
                  <a:gd name="T59" fmla="*/ 2147483647 h 1307"/>
                  <a:gd name="T60" fmla="*/ 2147483647 w 1420"/>
                  <a:gd name="T61" fmla="*/ 2147483647 h 1307"/>
                  <a:gd name="T62" fmla="*/ 2147483647 w 1420"/>
                  <a:gd name="T63" fmla="*/ 2147483647 h 1307"/>
                  <a:gd name="T64" fmla="*/ 2147483647 w 1420"/>
                  <a:gd name="T65" fmla="*/ 2147483647 h 1307"/>
                  <a:gd name="T66" fmla="*/ 2147483647 w 1420"/>
                  <a:gd name="T67" fmla="*/ 2147483647 h 1307"/>
                  <a:gd name="T68" fmla="*/ 2147483647 w 1420"/>
                  <a:gd name="T69" fmla="*/ 2147483647 h 1307"/>
                  <a:gd name="T70" fmla="*/ 2147483647 w 1420"/>
                  <a:gd name="T71" fmla="*/ 2147483647 h 1307"/>
                  <a:gd name="T72" fmla="*/ 2147483647 w 1420"/>
                  <a:gd name="T73" fmla="*/ 2147483647 h 1307"/>
                  <a:gd name="T74" fmla="*/ 2147483647 w 1420"/>
                  <a:gd name="T75" fmla="*/ 2147483647 h 1307"/>
                  <a:gd name="T76" fmla="*/ 2147483647 w 1420"/>
                  <a:gd name="T77" fmla="*/ 2147483647 h 1307"/>
                  <a:gd name="T78" fmla="*/ 2147483647 w 1420"/>
                  <a:gd name="T79" fmla="*/ 2147483647 h 1307"/>
                  <a:gd name="T80" fmla="*/ 2147483647 w 1420"/>
                  <a:gd name="T81" fmla="*/ 2147483647 h 1307"/>
                  <a:gd name="T82" fmla="*/ 2147483647 w 1420"/>
                  <a:gd name="T83" fmla="*/ 2147483647 h 1307"/>
                  <a:gd name="T84" fmla="*/ 2147483647 w 1420"/>
                  <a:gd name="T85" fmla="*/ 2147483647 h 1307"/>
                  <a:gd name="T86" fmla="*/ 2147483647 w 1420"/>
                  <a:gd name="T87" fmla="*/ 2147483647 h 1307"/>
                  <a:gd name="T88" fmla="*/ 2147483647 w 1420"/>
                  <a:gd name="T89" fmla="*/ 2147483647 h 1307"/>
                  <a:gd name="T90" fmla="*/ 2147483647 w 1420"/>
                  <a:gd name="T91" fmla="*/ 2147483647 h 1307"/>
                  <a:gd name="T92" fmla="*/ 2147483647 w 1420"/>
                  <a:gd name="T93" fmla="*/ 2147483647 h 1307"/>
                  <a:gd name="T94" fmla="*/ 2147483647 w 1420"/>
                  <a:gd name="T95" fmla="*/ 2147483647 h 1307"/>
                  <a:gd name="T96" fmla="*/ 2147483647 w 1420"/>
                  <a:gd name="T97" fmla="*/ 2147483647 h 1307"/>
                  <a:gd name="T98" fmla="*/ 2147483647 w 1420"/>
                  <a:gd name="T99" fmla="*/ 2147483647 h 1307"/>
                  <a:gd name="T100" fmla="*/ 2147483647 w 1420"/>
                  <a:gd name="T101" fmla="*/ 2147483647 h 1307"/>
                  <a:gd name="T102" fmla="*/ 2147483647 w 1420"/>
                  <a:gd name="T103" fmla="*/ 2147483647 h 1307"/>
                  <a:gd name="T104" fmla="*/ 2147483647 w 1420"/>
                  <a:gd name="T105" fmla="*/ 2147483647 h 1307"/>
                  <a:gd name="T106" fmla="*/ 2147483647 w 1420"/>
                  <a:gd name="T107" fmla="*/ 2147483647 h 1307"/>
                  <a:gd name="T108" fmla="*/ 2147483647 w 1420"/>
                  <a:gd name="T109" fmla="*/ 2147483647 h 1307"/>
                  <a:gd name="T110" fmla="*/ 2147483647 w 1420"/>
                  <a:gd name="T111" fmla="*/ 2147483647 h 1307"/>
                  <a:gd name="T112" fmla="*/ 2147483647 w 1420"/>
                  <a:gd name="T113" fmla="*/ 2147483647 h 1307"/>
                  <a:gd name="T114" fmla="*/ 2147483647 w 1420"/>
                  <a:gd name="T115" fmla="*/ 2147483647 h 1307"/>
                  <a:gd name="T116" fmla="*/ 2147483647 w 1420"/>
                  <a:gd name="T117" fmla="*/ 2147483647 h 1307"/>
                  <a:gd name="T118" fmla="*/ 2147483647 w 1420"/>
                  <a:gd name="T119" fmla="*/ 2147483647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420"/>
                  <a:gd name="T181" fmla="*/ 0 h 1307"/>
                  <a:gd name="T182" fmla="*/ 1420 w 1420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420" h="1307">
                    <a:moveTo>
                      <a:pt x="541" y="1307"/>
                    </a:moveTo>
                    <a:lnTo>
                      <a:pt x="537" y="1303"/>
                    </a:lnTo>
                    <a:lnTo>
                      <a:pt x="529" y="1299"/>
                    </a:lnTo>
                    <a:lnTo>
                      <a:pt x="537" y="1263"/>
                    </a:lnTo>
                    <a:lnTo>
                      <a:pt x="541" y="1239"/>
                    </a:lnTo>
                    <a:lnTo>
                      <a:pt x="541" y="1223"/>
                    </a:lnTo>
                    <a:lnTo>
                      <a:pt x="541" y="1202"/>
                    </a:lnTo>
                    <a:lnTo>
                      <a:pt x="537" y="1186"/>
                    </a:lnTo>
                    <a:lnTo>
                      <a:pt x="529" y="1170"/>
                    </a:lnTo>
                    <a:lnTo>
                      <a:pt x="512" y="1150"/>
                    </a:lnTo>
                    <a:lnTo>
                      <a:pt x="504" y="1146"/>
                    </a:lnTo>
                    <a:lnTo>
                      <a:pt x="496" y="1134"/>
                    </a:lnTo>
                    <a:lnTo>
                      <a:pt x="496" y="1126"/>
                    </a:lnTo>
                    <a:lnTo>
                      <a:pt x="488" y="1122"/>
                    </a:lnTo>
                    <a:lnTo>
                      <a:pt x="484" y="1122"/>
                    </a:lnTo>
                    <a:lnTo>
                      <a:pt x="480" y="1114"/>
                    </a:lnTo>
                    <a:lnTo>
                      <a:pt x="476" y="1110"/>
                    </a:lnTo>
                    <a:lnTo>
                      <a:pt x="456" y="1106"/>
                    </a:lnTo>
                    <a:lnTo>
                      <a:pt x="436" y="1098"/>
                    </a:lnTo>
                    <a:lnTo>
                      <a:pt x="428" y="1085"/>
                    </a:lnTo>
                    <a:lnTo>
                      <a:pt x="424" y="1077"/>
                    </a:lnTo>
                    <a:lnTo>
                      <a:pt x="408" y="1049"/>
                    </a:lnTo>
                    <a:lnTo>
                      <a:pt x="387" y="1009"/>
                    </a:lnTo>
                    <a:lnTo>
                      <a:pt x="375" y="1001"/>
                    </a:lnTo>
                    <a:lnTo>
                      <a:pt x="359" y="993"/>
                    </a:lnTo>
                    <a:lnTo>
                      <a:pt x="355" y="989"/>
                    </a:lnTo>
                    <a:lnTo>
                      <a:pt x="347" y="989"/>
                    </a:lnTo>
                    <a:lnTo>
                      <a:pt x="343" y="981"/>
                    </a:lnTo>
                    <a:lnTo>
                      <a:pt x="339" y="973"/>
                    </a:lnTo>
                    <a:lnTo>
                      <a:pt x="323" y="973"/>
                    </a:lnTo>
                    <a:lnTo>
                      <a:pt x="311" y="973"/>
                    </a:lnTo>
                    <a:lnTo>
                      <a:pt x="278" y="977"/>
                    </a:lnTo>
                    <a:lnTo>
                      <a:pt x="246" y="981"/>
                    </a:lnTo>
                    <a:lnTo>
                      <a:pt x="242" y="989"/>
                    </a:lnTo>
                    <a:lnTo>
                      <a:pt x="238" y="993"/>
                    </a:lnTo>
                    <a:lnTo>
                      <a:pt x="234" y="1009"/>
                    </a:lnTo>
                    <a:lnTo>
                      <a:pt x="234" y="1033"/>
                    </a:lnTo>
                    <a:lnTo>
                      <a:pt x="230" y="1033"/>
                    </a:lnTo>
                    <a:lnTo>
                      <a:pt x="218" y="1037"/>
                    </a:lnTo>
                    <a:lnTo>
                      <a:pt x="202" y="1037"/>
                    </a:lnTo>
                    <a:lnTo>
                      <a:pt x="178" y="1037"/>
                    </a:lnTo>
                    <a:lnTo>
                      <a:pt x="165" y="1029"/>
                    </a:lnTo>
                    <a:lnTo>
                      <a:pt x="153" y="1021"/>
                    </a:lnTo>
                    <a:lnTo>
                      <a:pt x="145" y="1005"/>
                    </a:lnTo>
                    <a:lnTo>
                      <a:pt x="129" y="993"/>
                    </a:lnTo>
                    <a:lnTo>
                      <a:pt x="129" y="985"/>
                    </a:lnTo>
                    <a:lnTo>
                      <a:pt x="129" y="981"/>
                    </a:lnTo>
                    <a:lnTo>
                      <a:pt x="129" y="960"/>
                    </a:lnTo>
                    <a:lnTo>
                      <a:pt x="129" y="944"/>
                    </a:lnTo>
                    <a:lnTo>
                      <a:pt x="121" y="932"/>
                    </a:lnTo>
                    <a:lnTo>
                      <a:pt x="117" y="920"/>
                    </a:lnTo>
                    <a:lnTo>
                      <a:pt x="97" y="908"/>
                    </a:lnTo>
                    <a:lnTo>
                      <a:pt x="77" y="896"/>
                    </a:lnTo>
                    <a:lnTo>
                      <a:pt x="61" y="896"/>
                    </a:lnTo>
                    <a:lnTo>
                      <a:pt x="44" y="892"/>
                    </a:lnTo>
                    <a:lnTo>
                      <a:pt x="32" y="880"/>
                    </a:lnTo>
                    <a:lnTo>
                      <a:pt x="16" y="876"/>
                    </a:lnTo>
                    <a:lnTo>
                      <a:pt x="8" y="851"/>
                    </a:lnTo>
                    <a:lnTo>
                      <a:pt x="0" y="823"/>
                    </a:lnTo>
                    <a:lnTo>
                      <a:pt x="0" y="803"/>
                    </a:lnTo>
                    <a:lnTo>
                      <a:pt x="0" y="787"/>
                    </a:lnTo>
                    <a:lnTo>
                      <a:pt x="8" y="779"/>
                    </a:lnTo>
                    <a:lnTo>
                      <a:pt x="16" y="767"/>
                    </a:lnTo>
                    <a:lnTo>
                      <a:pt x="16" y="743"/>
                    </a:lnTo>
                    <a:lnTo>
                      <a:pt x="16" y="714"/>
                    </a:lnTo>
                    <a:lnTo>
                      <a:pt x="28" y="690"/>
                    </a:lnTo>
                    <a:lnTo>
                      <a:pt x="28" y="674"/>
                    </a:lnTo>
                    <a:lnTo>
                      <a:pt x="20" y="674"/>
                    </a:lnTo>
                    <a:lnTo>
                      <a:pt x="20" y="654"/>
                    </a:lnTo>
                    <a:lnTo>
                      <a:pt x="28" y="634"/>
                    </a:lnTo>
                    <a:lnTo>
                      <a:pt x="32" y="626"/>
                    </a:lnTo>
                    <a:lnTo>
                      <a:pt x="40" y="565"/>
                    </a:lnTo>
                    <a:lnTo>
                      <a:pt x="40" y="537"/>
                    </a:lnTo>
                    <a:lnTo>
                      <a:pt x="44" y="529"/>
                    </a:lnTo>
                    <a:lnTo>
                      <a:pt x="53" y="513"/>
                    </a:lnTo>
                    <a:lnTo>
                      <a:pt x="61" y="513"/>
                    </a:lnTo>
                    <a:lnTo>
                      <a:pt x="77" y="509"/>
                    </a:lnTo>
                    <a:lnTo>
                      <a:pt x="85" y="509"/>
                    </a:lnTo>
                    <a:lnTo>
                      <a:pt x="93" y="505"/>
                    </a:lnTo>
                    <a:lnTo>
                      <a:pt x="117" y="480"/>
                    </a:lnTo>
                    <a:lnTo>
                      <a:pt x="129" y="456"/>
                    </a:lnTo>
                    <a:lnTo>
                      <a:pt x="133" y="448"/>
                    </a:lnTo>
                    <a:lnTo>
                      <a:pt x="141" y="440"/>
                    </a:lnTo>
                    <a:lnTo>
                      <a:pt x="149" y="412"/>
                    </a:lnTo>
                    <a:lnTo>
                      <a:pt x="153" y="379"/>
                    </a:lnTo>
                    <a:lnTo>
                      <a:pt x="153" y="359"/>
                    </a:lnTo>
                    <a:lnTo>
                      <a:pt x="153" y="335"/>
                    </a:lnTo>
                    <a:lnTo>
                      <a:pt x="153" y="331"/>
                    </a:lnTo>
                    <a:lnTo>
                      <a:pt x="149" y="327"/>
                    </a:lnTo>
                    <a:lnTo>
                      <a:pt x="149" y="315"/>
                    </a:lnTo>
                    <a:lnTo>
                      <a:pt x="149" y="299"/>
                    </a:lnTo>
                    <a:lnTo>
                      <a:pt x="153" y="295"/>
                    </a:lnTo>
                    <a:lnTo>
                      <a:pt x="153" y="258"/>
                    </a:lnTo>
                    <a:lnTo>
                      <a:pt x="149" y="222"/>
                    </a:lnTo>
                    <a:lnTo>
                      <a:pt x="153" y="210"/>
                    </a:lnTo>
                    <a:lnTo>
                      <a:pt x="157" y="198"/>
                    </a:lnTo>
                    <a:lnTo>
                      <a:pt x="165" y="186"/>
                    </a:lnTo>
                    <a:lnTo>
                      <a:pt x="170" y="166"/>
                    </a:lnTo>
                    <a:lnTo>
                      <a:pt x="170" y="158"/>
                    </a:lnTo>
                    <a:lnTo>
                      <a:pt x="170" y="154"/>
                    </a:lnTo>
                    <a:lnTo>
                      <a:pt x="165" y="145"/>
                    </a:lnTo>
                    <a:lnTo>
                      <a:pt x="153" y="141"/>
                    </a:lnTo>
                    <a:lnTo>
                      <a:pt x="149" y="129"/>
                    </a:lnTo>
                    <a:lnTo>
                      <a:pt x="149" y="101"/>
                    </a:lnTo>
                    <a:lnTo>
                      <a:pt x="182" y="101"/>
                    </a:lnTo>
                    <a:lnTo>
                      <a:pt x="202" y="109"/>
                    </a:lnTo>
                    <a:lnTo>
                      <a:pt x="214" y="101"/>
                    </a:lnTo>
                    <a:lnTo>
                      <a:pt x="226" y="89"/>
                    </a:lnTo>
                    <a:lnTo>
                      <a:pt x="230" y="85"/>
                    </a:lnTo>
                    <a:lnTo>
                      <a:pt x="234" y="81"/>
                    </a:lnTo>
                    <a:lnTo>
                      <a:pt x="246" y="73"/>
                    </a:lnTo>
                    <a:lnTo>
                      <a:pt x="258" y="65"/>
                    </a:lnTo>
                    <a:lnTo>
                      <a:pt x="274" y="45"/>
                    </a:lnTo>
                    <a:lnTo>
                      <a:pt x="291" y="24"/>
                    </a:lnTo>
                    <a:lnTo>
                      <a:pt x="299" y="16"/>
                    </a:lnTo>
                    <a:lnTo>
                      <a:pt x="315" y="8"/>
                    </a:lnTo>
                    <a:lnTo>
                      <a:pt x="323" y="8"/>
                    </a:lnTo>
                    <a:lnTo>
                      <a:pt x="335" y="4"/>
                    </a:lnTo>
                    <a:lnTo>
                      <a:pt x="399" y="4"/>
                    </a:lnTo>
                    <a:lnTo>
                      <a:pt x="464" y="4"/>
                    </a:lnTo>
                    <a:lnTo>
                      <a:pt x="533" y="0"/>
                    </a:lnTo>
                    <a:lnTo>
                      <a:pt x="601" y="0"/>
                    </a:lnTo>
                    <a:lnTo>
                      <a:pt x="605" y="4"/>
                    </a:lnTo>
                    <a:lnTo>
                      <a:pt x="609" y="4"/>
                    </a:lnTo>
                    <a:lnTo>
                      <a:pt x="637" y="4"/>
                    </a:lnTo>
                    <a:lnTo>
                      <a:pt x="662" y="4"/>
                    </a:lnTo>
                    <a:lnTo>
                      <a:pt x="686" y="8"/>
                    </a:lnTo>
                    <a:lnTo>
                      <a:pt x="710" y="12"/>
                    </a:lnTo>
                    <a:lnTo>
                      <a:pt x="722" y="16"/>
                    </a:lnTo>
                    <a:lnTo>
                      <a:pt x="730" y="24"/>
                    </a:lnTo>
                    <a:lnTo>
                      <a:pt x="746" y="41"/>
                    </a:lnTo>
                    <a:lnTo>
                      <a:pt x="767" y="61"/>
                    </a:lnTo>
                    <a:lnTo>
                      <a:pt x="771" y="61"/>
                    </a:lnTo>
                    <a:lnTo>
                      <a:pt x="779" y="65"/>
                    </a:lnTo>
                    <a:lnTo>
                      <a:pt x="775" y="101"/>
                    </a:lnTo>
                    <a:lnTo>
                      <a:pt x="775" y="117"/>
                    </a:lnTo>
                    <a:lnTo>
                      <a:pt x="767" y="121"/>
                    </a:lnTo>
                    <a:lnTo>
                      <a:pt x="750" y="121"/>
                    </a:lnTo>
                    <a:lnTo>
                      <a:pt x="750" y="101"/>
                    </a:lnTo>
                    <a:lnTo>
                      <a:pt x="746" y="85"/>
                    </a:lnTo>
                    <a:lnTo>
                      <a:pt x="738" y="77"/>
                    </a:lnTo>
                    <a:lnTo>
                      <a:pt x="726" y="65"/>
                    </a:lnTo>
                    <a:lnTo>
                      <a:pt x="714" y="65"/>
                    </a:lnTo>
                    <a:lnTo>
                      <a:pt x="706" y="65"/>
                    </a:lnTo>
                    <a:lnTo>
                      <a:pt x="694" y="77"/>
                    </a:lnTo>
                    <a:lnTo>
                      <a:pt x="686" y="81"/>
                    </a:lnTo>
                    <a:lnTo>
                      <a:pt x="674" y="101"/>
                    </a:lnTo>
                    <a:lnTo>
                      <a:pt x="654" y="117"/>
                    </a:lnTo>
                    <a:lnTo>
                      <a:pt x="654" y="125"/>
                    </a:lnTo>
                    <a:lnTo>
                      <a:pt x="654" y="141"/>
                    </a:lnTo>
                    <a:lnTo>
                      <a:pt x="666" y="149"/>
                    </a:lnTo>
                    <a:lnTo>
                      <a:pt x="682" y="158"/>
                    </a:lnTo>
                    <a:lnTo>
                      <a:pt x="682" y="162"/>
                    </a:lnTo>
                    <a:lnTo>
                      <a:pt x="682" y="166"/>
                    </a:lnTo>
                    <a:lnTo>
                      <a:pt x="678" y="186"/>
                    </a:lnTo>
                    <a:lnTo>
                      <a:pt x="674" y="202"/>
                    </a:lnTo>
                    <a:lnTo>
                      <a:pt x="662" y="206"/>
                    </a:lnTo>
                    <a:lnTo>
                      <a:pt x="654" y="210"/>
                    </a:lnTo>
                    <a:lnTo>
                      <a:pt x="654" y="222"/>
                    </a:lnTo>
                    <a:lnTo>
                      <a:pt x="650" y="230"/>
                    </a:lnTo>
                    <a:lnTo>
                      <a:pt x="633" y="238"/>
                    </a:lnTo>
                    <a:lnTo>
                      <a:pt x="617" y="246"/>
                    </a:lnTo>
                    <a:lnTo>
                      <a:pt x="617" y="254"/>
                    </a:lnTo>
                    <a:lnTo>
                      <a:pt x="617" y="266"/>
                    </a:lnTo>
                    <a:lnTo>
                      <a:pt x="617" y="275"/>
                    </a:lnTo>
                    <a:lnTo>
                      <a:pt x="625" y="279"/>
                    </a:lnTo>
                    <a:lnTo>
                      <a:pt x="637" y="283"/>
                    </a:lnTo>
                    <a:lnTo>
                      <a:pt x="654" y="291"/>
                    </a:lnTo>
                    <a:lnTo>
                      <a:pt x="662" y="299"/>
                    </a:lnTo>
                    <a:lnTo>
                      <a:pt x="674" y="307"/>
                    </a:lnTo>
                    <a:lnTo>
                      <a:pt x="682" y="343"/>
                    </a:lnTo>
                    <a:lnTo>
                      <a:pt x="686" y="379"/>
                    </a:lnTo>
                    <a:lnTo>
                      <a:pt x="690" y="383"/>
                    </a:lnTo>
                    <a:lnTo>
                      <a:pt x="694" y="396"/>
                    </a:lnTo>
                    <a:lnTo>
                      <a:pt x="694" y="412"/>
                    </a:lnTo>
                    <a:lnTo>
                      <a:pt x="694" y="428"/>
                    </a:lnTo>
                    <a:lnTo>
                      <a:pt x="698" y="436"/>
                    </a:lnTo>
                    <a:lnTo>
                      <a:pt x="714" y="448"/>
                    </a:lnTo>
                    <a:lnTo>
                      <a:pt x="726" y="452"/>
                    </a:lnTo>
                    <a:lnTo>
                      <a:pt x="734" y="452"/>
                    </a:lnTo>
                    <a:lnTo>
                      <a:pt x="746" y="472"/>
                    </a:lnTo>
                    <a:lnTo>
                      <a:pt x="750" y="484"/>
                    </a:lnTo>
                    <a:lnTo>
                      <a:pt x="758" y="492"/>
                    </a:lnTo>
                    <a:lnTo>
                      <a:pt x="758" y="496"/>
                    </a:lnTo>
                    <a:lnTo>
                      <a:pt x="771" y="509"/>
                    </a:lnTo>
                    <a:lnTo>
                      <a:pt x="787" y="529"/>
                    </a:lnTo>
                    <a:lnTo>
                      <a:pt x="799" y="533"/>
                    </a:lnTo>
                    <a:lnTo>
                      <a:pt x="811" y="537"/>
                    </a:lnTo>
                    <a:lnTo>
                      <a:pt x="815" y="537"/>
                    </a:lnTo>
                    <a:lnTo>
                      <a:pt x="815" y="541"/>
                    </a:lnTo>
                    <a:lnTo>
                      <a:pt x="827" y="541"/>
                    </a:lnTo>
                    <a:lnTo>
                      <a:pt x="839" y="541"/>
                    </a:lnTo>
                    <a:lnTo>
                      <a:pt x="839" y="537"/>
                    </a:lnTo>
                    <a:lnTo>
                      <a:pt x="839" y="533"/>
                    </a:lnTo>
                    <a:lnTo>
                      <a:pt x="831" y="529"/>
                    </a:lnTo>
                    <a:lnTo>
                      <a:pt x="831" y="521"/>
                    </a:lnTo>
                    <a:lnTo>
                      <a:pt x="827" y="505"/>
                    </a:lnTo>
                    <a:lnTo>
                      <a:pt x="827" y="492"/>
                    </a:lnTo>
                    <a:lnTo>
                      <a:pt x="827" y="476"/>
                    </a:lnTo>
                    <a:lnTo>
                      <a:pt x="831" y="472"/>
                    </a:lnTo>
                    <a:lnTo>
                      <a:pt x="839" y="460"/>
                    </a:lnTo>
                    <a:lnTo>
                      <a:pt x="839" y="456"/>
                    </a:lnTo>
                    <a:lnTo>
                      <a:pt x="863" y="456"/>
                    </a:lnTo>
                    <a:lnTo>
                      <a:pt x="875" y="460"/>
                    </a:lnTo>
                    <a:lnTo>
                      <a:pt x="888" y="476"/>
                    </a:lnTo>
                    <a:lnTo>
                      <a:pt x="888" y="484"/>
                    </a:lnTo>
                    <a:lnTo>
                      <a:pt x="888" y="492"/>
                    </a:lnTo>
                    <a:lnTo>
                      <a:pt x="892" y="496"/>
                    </a:lnTo>
                    <a:lnTo>
                      <a:pt x="896" y="500"/>
                    </a:lnTo>
                    <a:lnTo>
                      <a:pt x="908" y="509"/>
                    </a:lnTo>
                    <a:lnTo>
                      <a:pt x="916" y="513"/>
                    </a:lnTo>
                    <a:lnTo>
                      <a:pt x="920" y="513"/>
                    </a:lnTo>
                    <a:lnTo>
                      <a:pt x="928" y="509"/>
                    </a:lnTo>
                    <a:lnTo>
                      <a:pt x="932" y="496"/>
                    </a:lnTo>
                    <a:lnTo>
                      <a:pt x="936" y="480"/>
                    </a:lnTo>
                    <a:lnTo>
                      <a:pt x="948" y="484"/>
                    </a:lnTo>
                    <a:lnTo>
                      <a:pt x="964" y="484"/>
                    </a:lnTo>
                    <a:lnTo>
                      <a:pt x="968" y="488"/>
                    </a:lnTo>
                    <a:lnTo>
                      <a:pt x="972" y="492"/>
                    </a:lnTo>
                    <a:lnTo>
                      <a:pt x="984" y="509"/>
                    </a:lnTo>
                    <a:lnTo>
                      <a:pt x="988" y="513"/>
                    </a:lnTo>
                    <a:lnTo>
                      <a:pt x="1005" y="521"/>
                    </a:lnTo>
                    <a:lnTo>
                      <a:pt x="1025" y="521"/>
                    </a:lnTo>
                    <a:lnTo>
                      <a:pt x="1053" y="513"/>
                    </a:lnTo>
                    <a:lnTo>
                      <a:pt x="1061" y="509"/>
                    </a:lnTo>
                    <a:lnTo>
                      <a:pt x="1065" y="509"/>
                    </a:lnTo>
                    <a:lnTo>
                      <a:pt x="1077" y="500"/>
                    </a:lnTo>
                    <a:lnTo>
                      <a:pt x="1077" y="492"/>
                    </a:lnTo>
                    <a:lnTo>
                      <a:pt x="1077" y="484"/>
                    </a:lnTo>
                    <a:lnTo>
                      <a:pt x="1089" y="484"/>
                    </a:lnTo>
                    <a:lnTo>
                      <a:pt x="1109" y="480"/>
                    </a:lnTo>
                    <a:lnTo>
                      <a:pt x="1122" y="488"/>
                    </a:lnTo>
                    <a:lnTo>
                      <a:pt x="1130" y="496"/>
                    </a:lnTo>
                    <a:lnTo>
                      <a:pt x="1134" y="496"/>
                    </a:lnTo>
                    <a:lnTo>
                      <a:pt x="1142" y="496"/>
                    </a:lnTo>
                    <a:lnTo>
                      <a:pt x="1146" y="488"/>
                    </a:lnTo>
                    <a:lnTo>
                      <a:pt x="1158" y="480"/>
                    </a:lnTo>
                    <a:lnTo>
                      <a:pt x="1178" y="484"/>
                    </a:lnTo>
                    <a:lnTo>
                      <a:pt x="1186" y="484"/>
                    </a:lnTo>
                    <a:lnTo>
                      <a:pt x="1194" y="492"/>
                    </a:lnTo>
                    <a:lnTo>
                      <a:pt x="1210" y="500"/>
                    </a:lnTo>
                    <a:lnTo>
                      <a:pt x="1222" y="500"/>
                    </a:lnTo>
                    <a:lnTo>
                      <a:pt x="1239" y="500"/>
                    </a:lnTo>
                    <a:lnTo>
                      <a:pt x="1243" y="496"/>
                    </a:lnTo>
                    <a:lnTo>
                      <a:pt x="1255" y="488"/>
                    </a:lnTo>
                    <a:lnTo>
                      <a:pt x="1263" y="480"/>
                    </a:lnTo>
                    <a:lnTo>
                      <a:pt x="1275" y="472"/>
                    </a:lnTo>
                    <a:lnTo>
                      <a:pt x="1291" y="464"/>
                    </a:lnTo>
                    <a:lnTo>
                      <a:pt x="1291" y="460"/>
                    </a:lnTo>
                    <a:lnTo>
                      <a:pt x="1295" y="460"/>
                    </a:lnTo>
                    <a:lnTo>
                      <a:pt x="1303" y="464"/>
                    </a:lnTo>
                    <a:lnTo>
                      <a:pt x="1319" y="492"/>
                    </a:lnTo>
                    <a:lnTo>
                      <a:pt x="1331" y="521"/>
                    </a:lnTo>
                    <a:lnTo>
                      <a:pt x="1339" y="525"/>
                    </a:lnTo>
                    <a:lnTo>
                      <a:pt x="1352" y="533"/>
                    </a:lnTo>
                    <a:lnTo>
                      <a:pt x="1356" y="541"/>
                    </a:lnTo>
                    <a:lnTo>
                      <a:pt x="1360" y="549"/>
                    </a:lnTo>
                    <a:lnTo>
                      <a:pt x="1364" y="553"/>
                    </a:lnTo>
                    <a:lnTo>
                      <a:pt x="1380" y="573"/>
                    </a:lnTo>
                    <a:lnTo>
                      <a:pt x="1396" y="581"/>
                    </a:lnTo>
                    <a:lnTo>
                      <a:pt x="1408" y="589"/>
                    </a:lnTo>
                    <a:lnTo>
                      <a:pt x="1420" y="601"/>
                    </a:lnTo>
                    <a:lnTo>
                      <a:pt x="1420" y="613"/>
                    </a:lnTo>
                    <a:lnTo>
                      <a:pt x="1408" y="634"/>
                    </a:lnTo>
                    <a:lnTo>
                      <a:pt x="1400" y="646"/>
                    </a:lnTo>
                    <a:lnTo>
                      <a:pt x="1396" y="654"/>
                    </a:lnTo>
                    <a:lnTo>
                      <a:pt x="1388" y="658"/>
                    </a:lnTo>
                    <a:lnTo>
                      <a:pt x="1372" y="662"/>
                    </a:lnTo>
                    <a:lnTo>
                      <a:pt x="1360" y="674"/>
                    </a:lnTo>
                    <a:lnTo>
                      <a:pt x="1343" y="686"/>
                    </a:lnTo>
                    <a:lnTo>
                      <a:pt x="1331" y="698"/>
                    </a:lnTo>
                    <a:lnTo>
                      <a:pt x="1331" y="706"/>
                    </a:lnTo>
                    <a:lnTo>
                      <a:pt x="1327" y="714"/>
                    </a:lnTo>
                    <a:lnTo>
                      <a:pt x="1327" y="739"/>
                    </a:lnTo>
                    <a:lnTo>
                      <a:pt x="1323" y="767"/>
                    </a:lnTo>
                    <a:lnTo>
                      <a:pt x="1319" y="775"/>
                    </a:lnTo>
                    <a:lnTo>
                      <a:pt x="1307" y="779"/>
                    </a:lnTo>
                    <a:lnTo>
                      <a:pt x="1275" y="783"/>
                    </a:lnTo>
                    <a:lnTo>
                      <a:pt x="1239" y="791"/>
                    </a:lnTo>
                    <a:lnTo>
                      <a:pt x="1230" y="795"/>
                    </a:lnTo>
                    <a:lnTo>
                      <a:pt x="1226" y="815"/>
                    </a:lnTo>
                    <a:lnTo>
                      <a:pt x="1222" y="831"/>
                    </a:lnTo>
                    <a:lnTo>
                      <a:pt x="1214" y="851"/>
                    </a:lnTo>
                    <a:lnTo>
                      <a:pt x="1214" y="868"/>
                    </a:lnTo>
                    <a:lnTo>
                      <a:pt x="1214" y="872"/>
                    </a:lnTo>
                    <a:lnTo>
                      <a:pt x="1210" y="892"/>
                    </a:lnTo>
                    <a:lnTo>
                      <a:pt x="1210" y="904"/>
                    </a:lnTo>
                    <a:lnTo>
                      <a:pt x="1210" y="920"/>
                    </a:lnTo>
                    <a:lnTo>
                      <a:pt x="1214" y="940"/>
                    </a:lnTo>
                    <a:lnTo>
                      <a:pt x="1222" y="948"/>
                    </a:lnTo>
                    <a:lnTo>
                      <a:pt x="1226" y="956"/>
                    </a:lnTo>
                    <a:lnTo>
                      <a:pt x="1226" y="973"/>
                    </a:lnTo>
                    <a:lnTo>
                      <a:pt x="1226" y="985"/>
                    </a:lnTo>
                    <a:lnTo>
                      <a:pt x="1214" y="993"/>
                    </a:lnTo>
                    <a:lnTo>
                      <a:pt x="1198" y="1009"/>
                    </a:lnTo>
                    <a:lnTo>
                      <a:pt x="1194" y="1013"/>
                    </a:lnTo>
                    <a:lnTo>
                      <a:pt x="1194" y="1025"/>
                    </a:lnTo>
                    <a:lnTo>
                      <a:pt x="1194" y="1061"/>
                    </a:lnTo>
                    <a:lnTo>
                      <a:pt x="1194" y="1090"/>
                    </a:lnTo>
                    <a:lnTo>
                      <a:pt x="1194" y="1098"/>
                    </a:lnTo>
                    <a:lnTo>
                      <a:pt x="1198" y="1098"/>
                    </a:lnTo>
                    <a:lnTo>
                      <a:pt x="1194" y="1122"/>
                    </a:lnTo>
                    <a:lnTo>
                      <a:pt x="1194" y="1150"/>
                    </a:lnTo>
                    <a:lnTo>
                      <a:pt x="1190" y="1154"/>
                    </a:lnTo>
                    <a:lnTo>
                      <a:pt x="1186" y="1162"/>
                    </a:lnTo>
                    <a:lnTo>
                      <a:pt x="1174" y="1174"/>
                    </a:lnTo>
                    <a:lnTo>
                      <a:pt x="1150" y="1198"/>
                    </a:lnTo>
                    <a:lnTo>
                      <a:pt x="1150" y="1207"/>
                    </a:lnTo>
                    <a:lnTo>
                      <a:pt x="1150" y="1211"/>
                    </a:lnTo>
                    <a:lnTo>
                      <a:pt x="1150" y="1219"/>
                    </a:lnTo>
                    <a:lnTo>
                      <a:pt x="1158" y="1219"/>
                    </a:lnTo>
                    <a:lnTo>
                      <a:pt x="1158" y="1231"/>
                    </a:lnTo>
                    <a:lnTo>
                      <a:pt x="1162" y="1239"/>
                    </a:lnTo>
                    <a:lnTo>
                      <a:pt x="1158" y="1251"/>
                    </a:lnTo>
                    <a:lnTo>
                      <a:pt x="1158" y="1263"/>
                    </a:lnTo>
                    <a:lnTo>
                      <a:pt x="1150" y="1263"/>
                    </a:lnTo>
                    <a:lnTo>
                      <a:pt x="1146" y="1271"/>
                    </a:lnTo>
                    <a:lnTo>
                      <a:pt x="1138" y="1271"/>
                    </a:lnTo>
                    <a:lnTo>
                      <a:pt x="1130" y="1275"/>
                    </a:lnTo>
                    <a:lnTo>
                      <a:pt x="1122" y="1271"/>
                    </a:lnTo>
                    <a:lnTo>
                      <a:pt x="1113" y="1271"/>
                    </a:lnTo>
                    <a:lnTo>
                      <a:pt x="1109" y="1259"/>
                    </a:lnTo>
                    <a:lnTo>
                      <a:pt x="1105" y="1251"/>
                    </a:lnTo>
                    <a:lnTo>
                      <a:pt x="1101" y="1247"/>
                    </a:lnTo>
                    <a:lnTo>
                      <a:pt x="1097" y="1239"/>
                    </a:lnTo>
                    <a:lnTo>
                      <a:pt x="1089" y="1223"/>
                    </a:lnTo>
                    <a:lnTo>
                      <a:pt x="1085" y="1202"/>
                    </a:lnTo>
                    <a:lnTo>
                      <a:pt x="1081" y="1198"/>
                    </a:lnTo>
                    <a:lnTo>
                      <a:pt x="1073" y="1190"/>
                    </a:lnTo>
                    <a:lnTo>
                      <a:pt x="1033" y="1194"/>
                    </a:lnTo>
                    <a:lnTo>
                      <a:pt x="980" y="1198"/>
                    </a:lnTo>
                    <a:lnTo>
                      <a:pt x="972" y="1198"/>
                    </a:lnTo>
                    <a:lnTo>
                      <a:pt x="968" y="1198"/>
                    </a:lnTo>
                    <a:lnTo>
                      <a:pt x="948" y="1198"/>
                    </a:lnTo>
                    <a:lnTo>
                      <a:pt x="932" y="1198"/>
                    </a:lnTo>
                    <a:lnTo>
                      <a:pt x="904" y="1194"/>
                    </a:lnTo>
                    <a:lnTo>
                      <a:pt x="880" y="1190"/>
                    </a:lnTo>
                    <a:lnTo>
                      <a:pt x="871" y="1186"/>
                    </a:lnTo>
                    <a:lnTo>
                      <a:pt x="859" y="1174"/>
                    </a:lnTo>
                    <a:lnTo>
                      <a:pt x="831" y="1158"/>
                    </a:lnTo>
                    <a:lnTo>
                      <a:pt x="823" y="1150"/>
                    </a:lnTo>
                    <a:lnTo>
                      <a:pt x="815" y="1150"/>
                    </a:lnTo>
                    <a:lnTo>
                      <a:pt x="811" y="1150"/>
                    </a:lnTo>
                    <a:lnTo>
                      <a:pt x="795" y="1162"/>
                    </a:lnTo>
                    <a:lnTo>
                      <a:pt x="771" y="1170"/>
                    </a:lnTo>
                    <a:lnTo>
                      <a:pt x="758" y="1174"/>
                    </a:lnTo>
                    <a:lnTo>
                      <a:pt x="742" y="1182"/>
                    </a:lnTo>
                    <a:lnTo>
                      <a:pt x="726" y="1190"/>
                    </a:lnTo>
                    <a:lnTo>
                      <a:pt x="706" y="1202"/>
                    </a:lnTo>
                    <a:lnTo>
                      <a:pt x="690" y="1219"/>
                    </a:lnTo>
                    <a:lnTo>
                      <a:pt x="646" y="1255"/>
                    </a:lnTo>
                    <a:lnTo>
                      <a:pt x="629" y="1263"/>
                    </a:lnTo>
                    <a:lnTo>
                      <a:pt x="609" y="1275"/>
                    </a:lnTo>
                    <a:lnTo>
                      <a:pt x="601" y="1279"/>
                    </a:lnTo>
                    <a:lnTo>
                      <a:pt x="593" y="1287"/>
                    </a:lnTo>
                    <a:lnTo>
                      <a:pt x="581" y="1291"/>
                    </a:lnTo>
                    <a:lnTo>
                      <a:pt x="569" y="1295"/>
                    </a:lnTo>
                    <a:lnTo>
                      <a:pt x="565" y="1299"/>
                    </a:lnTo>
                    <a:lnTo>
                      <a:pt x="557" y="1303"/>
                    </a:lnTo>
                    <a:lnTo>
                      <a:pt x="553" y="1307"/>
                    </a:lnTo>
                    <a:lnTo>
                      <a:pt x="549" y="1307"/>
                    </a:lnTo>
                    <a:lnTo>
                      <a:pt x="545" y="1307"/>
                    </a:lnTo>
                    <a:lnTo>
                      <a:pt x="541" y="1307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15" name="Freeform 23"/>
              <p:cNvSpPr>
                <a:spLocks/>
              </p:cNvSpPr>
              <p:nvPr/>
            </p:nvSpPr>
            <p:spPr bwMode="auto">
              <a:xfrm>
                <a:off x="5911196" y="4922643"/>
                <a:ext cx="1254126" cy="980942"/>
              </a:xfrm>
              <a:custGeom>
                <a:avLst/>
                <a:gdLst>
                  <a:gd name="T0" fmla="*/ 2147483647 w 1396"/>
                  <a:gd name="T1" fmla="*/ 2147483647 h 1102"/>
                  <a:gd name="T2" fmla="*/ 2147483647 w 1396"/>
                  <a:gd name="T3" fmla="*/ 2147483647 h 1102"/>
                  <a:gd name="T4" fmla="*/ 2147483647 w 1396"/>
                  <a:gd name="T5" fmla="*/ 2147483647 h 1102"/>
                  <a:gd name="T6" fmla="*/ 2147483647 w 1396"/>
                  <a:gd name="T7" fmla="*/ 2147483647 h 1102"/>
                  <a:gd name="T8" fmla="*/ 2147483647 w 1396"/>
                  <a:gd name="T9" fmla="*/ 2147483647 h 1102"/>
                  <a:gd name="T10" fmla="*/ 2147483647 w 1396"/>
                  <a:gd name="T11" fmla="*/ 2147483647 h 1102"/>
                  <a:gd name="T12" fmla="*/ 2147483647 w 1396"/>
                  <a:gd name="T13" fmla="*/ 2147483647 h 1102"/>
                  <a:gd name="T14" fmla="*/ 2147483647 w 1396"/>
                  <a:gd name="T15" fmla="*/ 2147483647 h 1102"/>
                  <a:gd name="T16" fmla="*/ 2147483647 w 1396"/>
                  <a:gd name="T17" fmla="*/ 2147483647 h 1102"/>
                  <a:gd name="T18" fmla="*/ 2147483647 w 1396"/>
                  <a:gd name="T19" fmla="*/ 2147483647 h 1102"/>
                  <a:gd name="T20" fmla="*/ 2147483647 w 1396"/>
                  <a:gd name="T21" fmla="*/ 2147483647 h 1102"/>
                  <a:gd name="T22" fmla="*/ 2147483647 w 1396"/>
                  <a:gd name="T23" fmla="*/ 2147483647 h 1102"/>
                  <a:gd name="T24" fmla="*/ 2147483647 w 1396"/>
                  <a:gd name="T25" fmla="*/ 2147483647 h 1102"/>
                  <a:gd name="T26" fmla="*/ 2147483647 w 1396"/>
                  <a:gd name="T27" fmla="*/ 2147483647 h 1102"/>
                  <a:gd name="T28" fmla="*/ 2147483647 w 1396"/>
                  <a:gd name="T29" fmla="*/ 2147483647 h 1102"/>
                  <a:gd name="T30" fmla="*/ 2147483647 w 1396"/>
                  <a:gd name="T31" fmla="*/ 2147483647 h 1102"/>
                  <a:gd name="T32" fmla="*/ 2147483647 w 1396"/>
                  <a:gd name="T33" fmla="*/ 2147483647 h 1102"/>
                  <a:gd name="T34" fmla="*/ 2147483647 w 1396"/>
                  <a:gd name="T35" fmla="*/ 2147483647 h 1102"/>
                  <a:gd name="T36" fmla="*/ 2147483647 w 1396"/>
                  <a:gd name="T37" fmla="*/ 2147483647 h 1102"/>
                  <a:gd name="T38" fmla="*/ 2147483647 w 1396"/>
                  <a:gd name="T39" fmla="*/ 2147483647 h 1102"/>
                  <a:gd name="T40" fmla="*/ 2147483647 w 1396"/>
                  <a:gd name="T41" fmla="*/ 2147483647 h 1102"/>
                  <a:gd name="T42" fmla="*/ 2147483647 w 1396"/>
                  <a:gd name="T43" fmla="*/ 2147483647 h 1102"/>
                  <a:gd name="T44" fmla="*/ 2147483647 w 1396"/>
                  <a:gd name="T45" fmla="*/ 2147483647 h 1102"/>
                  <a:gd name="T46" fmla="*/ 2147483647 w 1396"/>
                  <a:gd name="T47" fmla="*/ 2147483647 h 1102"/>
                  <a:gd name="T48" fmla="*/ 2147483647 w 1396"/>
                  <a:gd name="T49" fmla="*/ 2147483647 h 1102"/>
                  <a:gd name="T50" fmla="*/ 2147483647 w 1396"/>
                  <a:gd name="T51" fmla="*/ 2147483647 h 1102"/>
                  <a:gd name="T52" fmla="*/ 2147483647 w 1396"/>
                  <a:gd name="T53" fmla="*/ 2147483647 h 1102"/>
                  <a:gd name="T54" fmla="*/ 2147483647 w 1396"/>
                  <a:gd name="T55" fmla="*/ 2147483647 h 1102"/>
                  <a:gd name="T56" fmla="*/ 2147483647 w 1396"/>
                  <a:gd name="T57" fmla="*/ 2147483647 h 1102"/>
                  <a:gd name="T58" fmla="*/ 2147483647 w 1396"/>
                  <a:gd name="T59" fmla="*/ 2147483647 h 1102"/>
                  <a:gd name="T60" fmla="*/ 2147483647 w 1396"/>
                  <a:gd name="T61" fmla="*/ 2147483647 h 1102"/>
                  <a:gd name="T62" fmla="*/ 2147483647 w 1396"/>
                  <a:gd name="T63" fmla="*/ 2147483647 h 1102"/>
                  <a:gd name="T64" fmla="*/ 2147483647 w 1396"/>
                  <a:gd name="T65" fmla="*/ 2147483647 h 1102"/>
                  <a:gd name="T66" fmla="*/ 2147483647 w 1396"/>
                  <a:gd name="T67" fmla="*/ 2147483647 h 1102"/>
                  <a:gd name="T68" fmla="*/ 2147483647 w 1396"/>
                  <a:gd name="T69" fmla="*/ 2147483647 h 1102"/>
                  <a:gd name="T70" fmla="*/ 2147483647 w 1396"/>
                  <a:gd name="T71" fmla="*/ 2147483647 h 1102"/>
                  <a:gd name="T72" fmla="*/ 2147483647 w 1396"/>
                  <a:gd name="T73" fmla="*/ 2147483647 h 1102"/>
                  <a:gd name="T74" fmla="*/ 2147483647 w 1396"/>
                  <a:gd name="T75" fmla="*/ 2147483647 h 1102"/>
                  <a:gd name="T76" fmla="*/ 2147483647 w 1396"/>
                  <a:gd name="T77" fmla="*/ 2147483647 h 1102"/>
                  <a:gd name="T78" fmla="*/ 2147483647 w 1396"/>
                  <a:gd name="T79" fmla="*/ 2147483647 h 1102"/>
                  <a:gd name="T80" fmla="*/ 2147483647 w 1396"/>
                  <a:gd name="T81" fmla="*/ 2147483647 h 1102"/>
                  <a:gd name="T82" fmla="*/ 2147483647 w 1396"/>
                  <a:gd name="T83" fmla="*/ 2147483647 h 1102"/>
                  <a:gd name="T84" fmla="*/ 2147483647 w 1396"/>
                  <a:gd name="T85" fmla="*/ 2147483647 h 1102"/>
                  <a:gd name="T86" fmla="*/ 2147483647 w 1396"/>
                  <a:gd name="T87" fmla="*/ 2147483647 h 1102"/>
                  <a:gd name="T88" fmla="*/ 2147483647 w 1396"/>
                  <a:gd name="T89" fmla="*/ 2147483647 h 1102"/>
                  <a:gd name="T90" fmla="*/ 2147483647 w 1396"/>
                  <a:gd name="T91" fmla="*/ 2147483647 h 1102"/>
                  <a:gd name="T92" fmla="*/ 2147483647 w 1396"/>
                  <a:gd name="T93" fmla="*/ 2147483647 h 1102"/>
                  <a:gd name="T94" fmla="*/ 2147483647 w 1396"/>
                  <a:gd name="T95" fmla="*/ 2147483647 h 1102"/>
                  <a:gd name="T96" fmla="*/ 2147483647 w 1396"/>
                  <a:gd name="T97" fmla="*/ 2147483647 h 1102"/>
                  <a:gd name="T98" fmla="*/ 2147483647 w 1396"/>
                  <a:gd name="T99" fmla="*/ 2147483647 h 1102"/>
                  <a:gd name="T100" fmla="*/ 2147483647 w 1396"/>
                  <a:gd name="T101" fmla="*/ 2147483647 h 1102"/>
                  <a:gd name="T102" fmla="*/ 2147483647 w 1396"/>
                  <a:gd name="T103" fmla="*/ 2147483647 h 1102"/>
                  <a:gd name="T104" fmla="*/ 2147483647 w 1396"/>
                  <a:gd name="T105" fmla="*/ 2147483647 h 1102"/>
                  <a:gd name="T106" fmla="*/ 2147483647 w 1396"/>
                  <a:gd name="T107" fmla="*/ 2147483647 h 1102"/>
                  <a:gd name="T108" fmla="*/ 2147483647 w 1396"/>
                  <a:gd name="T109" fmla="*/ 2147483647 h 1102"/>
                  <a:gd name="T110" fmla="*/ 2147483647 w 1396"/>
                  <a:gd name="T111" fmla="*/ 2147483647 h 1102"/>
                  <a:gd name="T112" fmla="*/ 2147483647 w 1396"/>
                  <a:gd name="T113" fmla="*/ 2147483647 h 1102"/>
                  <a:gd name="T114" fmla="*/ 2147483647 w 1396"/>
                  <a:gd name="T115" fmla="*/ 2147483647 h 1102"/>
                  <a:gd name="T116" fmla="*/ 2147483647 w 1396"/>
                  <a:gd name="T117" fmla="*/ 2147483647 h 1102"/>
                  <a:gd name="T118" fmla="*/ 2147483647 w 1396"/>
                  <a:gd name="T119" fmla="*/ 2147483647 h 110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396"/>
                  <a:gd name="T181" fmla="*/ 0 h 1102"/>
                  <a:gd name="T182" fmla="*/ 1396 w 1396"/>
                  <a:gd name="T183" fmla="*/ 1102 h 110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396" h="1102">
                    <a:moveTo>
                      <a:pt x="512" y="1102"/>
                    </a:moveTo>
                    <a:lnTo>
                      <a:pt x="508" y="1098"/>
                    </a:lnTo>
                    <a:lnTo>
                      <a:pt x="508" y="1070"/>
                    </a:lnTo>
                    <a:lnTo>
                      <a:pt x="508" y="1037"/>
                    </a:lnTo>
                    <a:lnTo>
                      <a:pt x="496" y="1033"/>
                    </a:lnTo>
                    <a:lnTo>
                      <a:pt x="488" y="1025"/>
                    </a:lnTo>
                    <a:lnTo>
                      <a:pt x="488" y="1013"/>
                    </a:lnTo>
                    <a:lnTo>
                      <a:pt x="488" y="997"/>
                    </a:lnTo>
                    <a:lnTo>
                      <a:pt x="492" y="993"/>
                    </a:lnTo>
                    <a:lnTo>
                      <a:pt x="496" y="985"/>
                    </a:lnTo>
                    <a:lnTo>
                      <a:pt x="508" y="981"/>
                    </a:lnTo>
                    <a:lnTo>
                      <a:pt x="517" y="969"/>
                    </a:lnTo>
                    <a:lnTo>
                      <a:pt x="517" y="965"/>
                    </a:lnTo>
                    <a:lnTo>
                      <a:pt x="517" y="957"/>
                    </a:lnTo>
                    <a:lnTo>
                      <a:pt x="512" y="949"/>
                    </a:lnTo>
                    <a:lnTo>
                      <a:pt x="508" y="944"/>
                    </a:lnTo>
                    <a:lnTo>
                      <a:pt x="488" y="936"/>
                    </a:lnTo>
                    <a:lnTo>
                      <a:pt x="468" y="928"/>
                    </a:lnTo>
                    <a:lnTo>
                      <a:pt x="452" y="928"/>
                    </a:lnTo>
                    <a:lnTo>
                      <a:pt x="428" y="928"/>
                    </a:lnTo>
                    <a:lnTo>
                      <a:pt x="420" y="936"/>
                    </a:lnTo>
                    <a:lnTo>
                      <a:pt x="408" y="944"/>
                    </a:lnTo>
                    <a:lnTo>
                      <a:pt x="404" y="949"/>
                    </a:lnTo>
                    <a:lnTo>
                      <a:pt x="400" y="949"/>
                    </a:lnTo>
                    <a:lnTo>
                      <a:pt x="375" y="949"/>
                    </a:lnTo>
                    <a:lnTo>
                      <a:pt x="355" y="949"/>
                    </a:lnTo>
                    <a:lnTo>
                      <a:pt x="347" y="944"/>
                    </a:lnTo>
                    <a:lnTo>
                      <a:pt x="339" y="940"/>
                    </a:lnTo>
                    <a:lnTo>
                      <a:pt x="327" y="944"/>
                    </a:lnTo>
                    <a:lnTo>
                      <a:pt x="315" y="944"/>
                    </a:lnTo>
                    <a:lnTo>
                      <a:pt x="311" y="949"/>
                    </a:lnTo>
                    <a:lnTo>
                      <a:pt x="303" y="957"/>
                    </a:lnTo>
                    <a:lnTo>
                      <a:pt x="299" y="957"/>
                    </a:lnTo>
                    <a:lnTo>
                      <a:pt x="295" y="957"/>
                    </a:lnTo>
                    <a:lnTo>
                      <a:pt x="291" y="953"/>
                    </a:lnTo>
                    <a:lnTo>
                      <a:pt x="291" y="949"/>
                    </a:lnTo>
                    <a:lnTo>
                      <a:pt x="291" y="940"/>
                    </a:lnTo>
                    <a:lnTo>
                      <a:pt x="291" y="932"/>
                    </a:lnTo>
                    <a:lnTo>
                      <a:pt x="295" y="920"/>
                    </a:lnTo>
                    <a:lnTo>
                      <a:pt x="299" y="912"/>
                    </a:lnTo>
                    <a:lnTo>
                      <a:pt x="303" y="908"/>
                    </a:lnTo>
                    <a:lnTo>
                      <a:pt x="311" y="900"/>
                    </a:lnTo>
                    <a:lnTo>
                      <a:pt x="319" y="888"/>
                    </a:lnTo>
                    <a:lnTo>
                      <a:pt x="327" y="868"/>
                    </a:lnTo>
                    <a:lnTo>
                      <a:pt x="327" y="844"/>
                    </a:lnTo>
                    <a:lnTo>
                      <a:pt x="327" y="811"/>
                    </a:lnTo>
                    <a:lnTo>
                      <a:pt x="327" y="803"/>
                    </a:lnTo>
                    <a:lnTo>
                      <a:pt x="323" y="795"/>
                    </a:lnTo>
                    <a:lnTo>
                      <a:pt x="323" y="751"/>
                    </a:lnTo>
                    <a:lnTo>
                      <a:pt x="323" y="710"/>
                    </a:lnTo>
                    <a:lnTo>
                      <a:pt x="315" y="702"/>
                    </a:lnTo>
                    <a:lnTo>
                      <a:pt x="311" y="702"/>
                    </a:lnTo>
                    <a:lnTo>
                      <a:pt x="299" y="698"/>
                    </a:lnTo>
                    <a:lnTo>
                      <a:pt x="291" y="674"/>
                    </a:lnTo>
                    <a:lnTo>
                      <a:pt x="279" y="654"/>
                    </a:lnTo>
                    <a:lnTo>
                      <a:pt x="266" y="650"/>
                    </a:lnTo>
                    <a:lnTo>
                      <a:pt x="250" y="650"/>
                    </a:lnTo>
                    <a:lnTo>
                      <a:pt x="242" y="654"/>
                    </a:lnTo>
                    <a:lnTo>
                      <a:pt x="234" y="666"/>
                    </a:lnTo>
                    <a:lnTo>
                      <a:pt x="226" y="674"/>
                    </a:lnTo>
                    <a:lnTo>
                      <a:pt x="226" y="682"/>
                    </a:lnTo>
                    <a:lnTo>
                      <a:pt x="222" y="686"/>
                    </a:lnTo>
                    <a:lnTo>
                      <a:pt x="222" y="690"/>
                    </a:lnTo>
                    <a:lnTo>
                      <a:pt x="182" y="690"/>
                    </a:lnTo>
                    <a:lnTo>
                      <a:pt x="145" y="690"/>
                    </a:lnTo>
                    <a:lnTo>
                      <a:pt x="125" y="686"/>
                    </a:lnTo>
                    <a:lnTo>
                      <a:pt x="101" y="682"/>
                    </a:lnTo>
                    <a:lnTo>
                      <a:pt x="93" y="674"/>
                    </a:lnTo>
                    <a:lnTo>
                      <a:pt x="81" y="666"/>
                    </a:lnTo>
                    <a:lnTo>
                      <a:pt x="81" y="658"/>
                    </a:lnTo>
                    <a:lnTo>
                      <a:pt x="77" y="650"/>
                    </a:lnTo>
                    <a:lnTo>
                      <a:pt x="73" y="650"/>
                    </a:lnTo>
                    <a:lnTo>
                      <a:pt x="65" y="650"/>
                    </a:lnTo>
                    <a:lnTo>
                      <a:pt x="28" y="650"/>
                    </a:lnTo>
                    <a:lnTo>
                      <a:pt x="0" y="650"/>
                    </a:lnTo>
                    <a:lnTo>
                      <a:pt x="0" y="642"/>
                    </a:lnTo>
                    <a:lnTo>
                      <a:pt x="4" y="634"/>
                    </a:lnTo>
                    <a:lnTo>
                      <a:pt x="12" y="630"/>
                    </a:lnTo>
                    <a:lnTo>
                      <a:pt x="20" y="618"/>
                    </a:lnTo>
                    <a:lnTo>
                      <a:pt x="20" y="614"/>
                    </a:lnTo>
                    <a:lnTo>
                      <a:pt x="20" y="610"/>
                    </a:lnTo>
                    <a:lnTo>
                      <a:pt x="24" y="606"/>
                    </a:lnTo>
                    <a:lnTo>
                      <a:pt x="28" y="602"/>
                    </a:lnTo>
                    <a:lnTo>
                      <a:pt x="40" y="589"/>
                    </a:lnTo>
                    <a:lnTo>
                      <a:pt x="49" y="573"/>
                    </a:lnTo>
                    <a:lnTo>
                      <a:pt x="49" y="569"/>
                    </a:lnTo>
                    <a:lnTo>
                      <a:pt x="53" y="565"/>
                    </a:lnTo>
                    <a:lnTo>
                      <a:pt x="65" y="533"/>
                    </a:lnTo>
                    <a:lnTo>
                      <a:pt x="77" y="497"/>
                    </a:lnTo>
                    <a:lnTo>
                      <a:pt x="81" y="485"/>
                    </a:lnTo>
                    <a:lnTo>
                      <a:pt x="93" y="476"/>
                    </a:lnTo>
                    <a:lnTo>
                      <a:pt x="101" y="468"/>
                    </a:lnTo>
                    <a:lnTo>
                      <a:pt x="129" y="456"/>
                    </a:lnTo>
                    <a:lnTo>
                      <a:pt x="141" y="444"/>
                    </a:lnTo>
                    <a:lnTo>
                      <a:pt x="145" y="412"/>
                    </a:lnTo>
                    <a:lnTo>
                      <a:pt x="153" y="384"/>
                    </a:lnTo>
                    <a:lnTo>
                      <a:pt x="162" y="359"/>
                    </a:lnTo>
                    <a:lnTo>
                      <a:pt x="170" y="335"/>
                    </a:lnTo>
                    <a:lnTo>
                      <a:pt x="182" y="323"/>
                    </a:lnTo>
                    <a:lnTo>
                      <a:pt x="190" y="311"/>
                    </a:lnTo>
                    <a:lnTo>
                      <a:pt x="198" y="311"/>
                    </a:lnTo>
                    <a:lnTo>
                      <a:pt x="206" y="307"/>
                    </a:lnTo>
                    <a:lnTo>
                      <a:pt x="214" y="303"/>
                    </a:lnTo>
                    <a:lnTo>
                      <a:pt x="222" y="295"/>
                    </a:lnTo>
                    <a:lnTo>
                      <a:pt x="226" y="267"/>
                    </a:lnTo>
                    <a:lnTo>
                      <a:pt x="234" y="242"/>
                    </a:lnTo>
                    <a:lnTo>
                      <a:pt x="226" y="230"/>
                    </a:lnTo>
                    <a:lnTo>
                      <a:pt x="222" y="222"/>
                    </a:lnTo>
                    <a:lnTo>
                      <a:pt x="214" y="214"/>
                    </a:lnTo>
                    <a:lnTo>
                      <a:pt x="206" y="202"/>
                    </a:lnTo>
                    <a:lnTo>
                      <a:pt x="206" y="190"/>
                    </a:lnTo>
                    <a:lnTo>
                      <a:pt x="206" y="182"/>
                    </a:lnTo>
                    <a:lnTo>
                      <a:pt x="206" y="174"/>
                    </a:lnTo>
                    <a:lnTo>
                      <a:pt x="210" y="146"/>
                    </a:lnTo>
                    <a:lnTo>
                      <a:pt x="222" y="130"/>
                    </a:lnTo>
                    <a:lnTo>
                      <a:pt x="226" y="117"/>
                    </a:lnTo>
                    <a:lnTo>
                      <a:pt x="234" y="109"/>
                    </a:lnTo>
                    <a:lnTo>
                      <a:pt x="238" y="105"/>
                    </a:lnTo>
                    <a:lnTo>
                      <a:pt x="242" y="85"/>
                    </a:lnTo>
                    <a:lnTo>
                      <a:pt x="250" y="61"/>
                    </a:lnTo>
                    <a:lnTo>
                      <a:pt x="258" y="53"/>
                    </a:lnTo>
                    <a:lnTo>
                      <a:pt x="266" y="41"/>
                    </a:lnTo>
                    <a:lnTo>
                      <a:pt x="266" y="37"/>
                    </a:lnTo>
                    <a:lnTo>
                      <a:pt x="266" y="25"/>
                    </a:lnTo>
                    <a:lnTo>
                      <a:pt x="279" y="13"/>
                    </a:lnTo>
                    <a:lnTo>
                      <a:pt x="291" y="0"/>
                    </a:lnTo>
                    <a:lnTo>
                      <a:pt x="299" y="0"/>
                    </a:lnTo>
                    <a:lnTo>
                      <a:pt x="311" y="0"/>
                    </a:lnTo>
                    <a:lnTo>
                      <a:pt x="323" y="13"/>
                    </a:lnTo>
                    <a:lnTo>
                      <a:pt x="347" y="41"/>
                    </a:lnTo>
                    <a:lnTo>
                      <a:pt x="351" y="57"/>
                    </a:lnTo>
                    <a:lnTo>
                      <a:pt x="363" y="73"/>
                    </a:lnTo>
                    <a:lnTo>
                      <a:pt x="375" y="97"/>
                    </a:lnTo>
                    <a:lnTo>
                      <a:pt x="400" y="138"/>
                    </a:lnTo>
                    <a:lnTo>
                      <a:pt x="420" y="134"/>
                    </a:lnTo>
                    <a:lnTo>
                      <a:pt x="444" y="134"/>
                    </a:lnTo>
                    <a:lnTo>
                      <a:pt x="464" y="117"/>
                    </a:lnTo>
                    <a:lnTo>
                      <a:pt x="480" y="109"/>
                    </a:lnTo>
                    <a:lnTo>
                      <a:pt x="500" y="109"/>
                    </a:lnTo>
                    <a:lnTo>
                      <a:pt x="521" y="109"/>
                    </a:lnTo>
                    <a:lnTo>
                      <a:pt x="557" y="117"/>
                    </a:lnTo>
                    <a:lnTo>
                      <a:pt x="585" y="121"/>
                    </a:lnTo>
                    <a:lnTo>
                      <a:pt x="593" y="138"/>
                    </a:lnTo>
                    <a:lnTo>
                      <a:pt x="593" y="154"/>
                    </a:lnTo>
                    <a:lnTo>
                      <a:pt x="601" y="158"/>
                    </a:lnTo>
                    <a:lnTo>
                      <a:pt x="613" y="170"/>
                    </a:lnTo>
                    <a:lnTo>
                      <a:pt x="621" y="170"/>
                    </a:lnTo>
                    <a:lnTo>
                      <a:pt x="629" y="170"/>
                    </a:lnTo>
                    <a:lnTo>
                      <a:pt x="634" y="166"/>
                    </a:lnTo>
                    <a:lnTo>
                      <a:pt x="638" y="158"/>
                    </a:lnTo>
                    <a:lnTo>
                      <a:pt x="646" y="158"/>
                    </a:lnTo>
                    <a:lnTo>
                      <a:pt x="654" y="158"/>
                    </a:lnTo>
                    <a:lnTo>
                      <a:pt x="654" y="170"/>
                    </a:lnTo>
                    <a:lnTo>
                      <a:pt x="662" y="178"/>
                    </a:lnTo>
                    <a:lnTo>
                      <a:pt x="662" y="190"/>
                    </a:lnTo>
                    <a:lnTo>
                      <a:pt x="674" y="202"/>
                    </a:lnTo>
                    <a:lnTo>
                      <a:pt x="674" y="206"/>
                    </a:lnTo>
                    <a:lnTo>
                      <a:pt x="678" y="214"/>
                    </a:lnTo>
                    <a:lnTo>
                      <a:pt x="678" y="218"/>
                    </a:lnTo>
                    <a:lnTo>
                      <a:pt x="682" y="218"/>
                    </a:lnTo>
                    <a:lnTo>
                      <a:pt x="682" y="242"/>
                    </a:lnTo>
                    <a:lnTo>
                      <a:pt x="682" y="267"/>
                    </a:lnTo>
                    <a:lnTo>
                      <a:pt x="686" y="271"/>
                    </a:lnTo>
                    <a:lnTo>
                      <a:pt x="686" y="275"/>
                    </a:lnTo>
                    <a:lnTo>
                      <a:pt x="706" y="279"/>
                    </a:lnTo>
                    <a:lnTo>
                      <a:pt x="726" y="287"/>
                    </a:lnTo>
                    <a:lnTo>
                      <a:pt x="730" y="287"/>
                    </a:lnTo>
                    <a:lnTo>
                      <a:pt x="738" y="295"/>
                    </a:lnTo>
                    <a:lnTo>
                      <a:pt x="738" y="287"/>
                    </a:lnTo>
                    <a:lnTo>
                      <a:pt x="738" y="271"/>
                    </a:lnTo>
                    <a:lnTo>
                      <a:pt x="742" y="271"/>
                    </a:lnTo>
                    <a:lnTo>
                      <a:pt x="751" y="271"/>
                    </a:lnTo>
                    <a:lnTo>
                      <a:pt x="759" y="263"/>
                    </a:lnTo>
                    <a:lnTo>
                      <a:pt x="767" y="259"/>
                    </a:lnTo>
                    <a:lnTo>
                      <a:pt x="767" y="255"/>
                    </a:lnTo>
                    <a:lnTo>
                      <a:pt x="771" y="242"/>
                    </a:lnTo>
                    <a:lnTo>
                      <a:pt x="791" y="230"/>
                    </a:lnTo>
                    <a:lnTo>
                      <a:pt x="799" y="226"/>
                    </a:lnTo>
                    <a:lnTo>
                      <a:pt x="819" y="222"/>
                    </a:lnTo>
                    <a:lnTo>
                      <a:pt x="839" y="222"/>
                    </a:lnTo>
                    <a:lnTo>
                      <a:pt x="847" y="218"/>
                    </a:lnTo>
                    <a:lnTo>
                      <a:pt x="855" y="206"/>
                    </a:lnTo>
                    <a:lnTo>
                      <a:pt x="859" y="202"/>
                    </a:lnTo>
                    <a:lnTo>
                      <a:pt x="859" y="190"/>
                    </a:lnTo>
                    <a:lnTo>
                      <a:pt x="859" y="174"/>
                    </a:lnTo>
                    <a:lnTo>
                      <a:pt x="872" y="158"/>
                    </a:lnTo>
                    <a:lnTo>
                      <a:pt x="884" y="154"/>
                    </a:lnTo>
                    <a:lnTo>
                      <a:pt x="896" y="146"/>
                    </a:lnTo>
                    <a:lnTo>
                      <a:pt x="904" y="146"/>
                    </a:lnTo>
                    <a:lnTo>
                      <a:pt x="920" y="146"/>
                    </a:lnTo>
                    <a:lnTo>
                      <a:pt x="924" y="154"/>
                    </a:lnTo>
                    <a:lnTo>
                      <a:pt x="944" y="170"/>
                    </a:lnTo>
                    <a:lnTo>
                      <a:pt x="956" y="174"/>
                    </a:lnTo>
                    <a:lnTo>
                      <a:pt x="964" y="174"/>
                    </a:lnTo>
                    <a:lnTo>
                      <a:pt x="972" y="178"/>
                    </a:lnTo>
                    <a:lnTo>
                      <a:pt x="976" y="178"/>
                    </a:lnTo>
                    <a:lnTo>
                      <a:pt x="976" y="194"/>
                    </a:lnTo>
                    <a:lnTo>
                      <a:pt x="976" y="206"/>
                    </a:lnTo>
                    <a:lnTo>
                      <a:pt x="1009" y="206"/>
                    </a:lnTo>
                    <a:lnTo>
                      <a:pt x="1037" y="206"/>
                    </a:lnTo>
                    <a:lnTo>
                      <a:pt x="1049" y="214"/>
                    </a:lnTo>
                    <a:lnTo>
                      <a:pt x="1073" y="218"/>
                    </a:lnTo>
                    <a:lnTo>
                      <a:pt x="1077" y="222"/>
                    </a:lnTo>
                    <a:lnTo>
                      <a:pt x="1077" y="238"/>
                    </a:lnTo>
                    <a:lnTo>
                      <a:pt x="1077" y="251"/>
                    </a:lnTo>
                    <a:lnTo>
                      <a:pt x="1085" y="255"/>
                    </a:lnTo>
                    <a:lnTo>
                      <a:pt x="1089" y="267"/>
                    </a:lnTo>
                    <a:lnTo>
                      <a:pt x="1093" y="291"/>
                    </a:lnTo>
                    <a:lnTo>
                      <a:pt x="1097" y="307"/>
                    </a:lnTo>
                    <a:lnTo>
                      <a:pt x="1097" y="319"/>
                    </a:lnTo>
                    <a:lnTo>
                      <a:pt x="1097" y="331"/>
                    </a:lnTo>
                    <a:lnTo>
                      <a:pt x="1101" y="339"/>
                    </a:lnTo>
                    <a:lnTo>
                      <a:pt x="1106" y="343"/>
                    </a:lnTo>
                    <a:lnTo>
                      <a:pt x="1126" y="355"/>
                    </a:lnTo>
                    <a:lnTo>
                      <a:pt x="1138" y="364"/>
                    </a:lnTo>
                    <a:lnTo>
                      <a:pt x="1178" y="359"/>
                    </a:lnTo>
                    <a:lnTo>
                      <a:pt x="1218" y="359"/>
                    </a:lnTo>
                    <a:lnTo>
                      <a:pt x="1231" y="380"/>
                    </a:lnTo>
                    <a:lnTo>
                      <a:pt x="1239" y="396"/>
                    </a:lnTo>
                    <a:lnTo>
                      <a:pt x="1239" y="400"/>
                    </a:lnTo>
                    <a:lnTo>
                      <a:pt x="1235" y="404"/>
                    </a:lnTo>
                    <a:lnTo>
                      <a:pt x="1235" y="412"/>
                    </a:lnTo>
                    <a:lnTo>
                      <a:pt x="1235" y="444"/>
                    </a:lnTo>
                    <a:lnTo>
                      <a:pt x="1243" y="444"/>
                    </a:lnTo>
                    <a:lnTo>
                      <a:pt x="1255" y="444"/>
                    </a:lnTo>
                    <a:lnTo>
                      <a:pt x="1247" y="456"/>
                    </a:lnTo>
                    <a:lnTo>
                      <a:pt x="1247" y="468"/>
                    </a:lnTo>
                    <a:lnTo>
                      <a:pt x="1263" y="497"/>
                    </a:lnTo>
                    <a:lnTo>
                      <a:pt x="1275" y="521"/>
                    </a:lnTo>
                    <a:lnTo>
                      <a:pt x="1283" y="521"/>
                    </a:lnTo>
                    <a:lnTo>
                      <a:pt x="1287" y="525"/>
                    </a:lnTo>
                    <a:lnTo>
                      <a:pt x="1307" y="525"/>
                    </a:lnTo>
                    <a:lnTo>
                      <a:pt x="1331" y="533"/>
                    </a:lnTo>
                    <a:lnTo>
                      <a:pt x="1335" y="541"/>
                    </a:lnTo>
                    <a:lnTo>
                      <a:pt x="1335" y="553"/>
                    </a:lnTo>
                    <a:lnTo>
                      <a:pt x="1335" y="565"/>
                    </a:lnTo>
                    <a:lnTo>
                      <a:pt x="1364" y="585"/>
                    </a:lnTo>
                    <a:lnTo>
                      <a:pt x="1380" y="602"/>
                    </a:lnTo>
                    <a:lnTo>
                      <a:pt x="1388" y="606"/>
                    </a:lnTo>
                    <a:lnTo>
                      <a:pt x="1396" y="610"/>
                    </a:lnTo>
                    <a:lnTo>
                      <a:pt x="1388" y="610"/>
                    </a:lnTo>
                    <a:lnTo>
                      <a:pt x="1388" y="614"/>
                    </a:lnTo>
                    <a:lnTo>
                      <a:pt x="1376" y="614"/>
                    </a:lnTo>
                    <a:lnTo>
                      <a:pt x="1368" y="618"/>
                    </a:lnTo>
                    <a:lnTo>
                      <a:pt x="1360" y="622"/>
                    </a:lnTo>
                    <a:lnTo>
                      <a:pt x="1344" y="634"/>
                    </a:lnTo>
                    <a:lnTo>
                      <a:pt x="1335" y="642"/>
                    </a:lnTo>
                    <a:lnTo>
                      <a:pt x="1335" y="646"/>
                    </a:lnTo>
                    <a:lnTo>
                      <a:pt x="1311" y="662"/>
                    </a:lnTo>
                    <a:lnTo>
                      <a:pt x="1283" y="682"/>
                    </a:lnTo>
                    <a:lnTo>
                      <a:pt x="1275" y="694"/>
                    </a:lnTo>
                    <a:lnTo>
                      <a:pt x="1267" y="702"/>
                    </a:lnTo>
                    <a:lnTo>
                      <a:pt x="1267" y="715"/>
                    </a:lnTo>
                    <a:lnTo>
                      <a:pt x="1267" y="727"/>
                    </a:lnTo>
                    <a:lnTo>
                      <a:pt x="1271" y="735"/>
                    </a:lnTo>
                    <a:lnTo>
                      <a:pt x="1275" y="747"/>
                    </a:lnTo>
                    <a:lnTo>
                      <a:pt x="1291" y="747"/>
                    </a:lnTo>
                    <a:lnTo>
                      <a:pt x="1311" y="751"/>
                    </a:lnTo>
                    <a:lnTo>
                      <a:pt x="1315" y="767"/>
                    </a:lnTo>
                    <a:lnTo>
                      <a:pt x="1323" y="779"/>
                    </a:lnTo>
                    <a:lnTo>
                      <a:pt x="1323" y="787"/>
                    </a:lnTo>
                    <a:lnTo>
                      <a:pt x="1323" y="795"/>
                    </a:lnTo>
                    <a:lnTo>
                      <a:pt x="1319" y="799"/>
                    </a:lnTo>
                    <a:lnTo>
                      <a:pt x="1315" y="811"/>
                    </a:lnTo>
                    <a:lnTo>
                      <a:pt x="1311" y="819"/>
                    </a:lnTo>
                    <a:lnTo>
                      <a:pt x="1299" y="832"/>
                    </a:lnTo>
                    <a:lnTo>
                      <a:pt x="1287" y="840"/>
                    </a:lnTo>
                    <a:lnTo>
                      <a:pt x="1283" y="852"/>
                    </a:lnTo>
                    <a:lnTo>
                      <a:pt x="1271" y="880"/>
                    </a:lnTo>
                    <a:lnTo>
                      <a:pt x="1263" y="888"/>
                    </a:lnTo>
                    <a:lnTo>
                      <a:pt x="1247" y="896"/>
                    </a:lnTo>
                    <a:lnTo>
                      <a:pt x="1239" y="908"/>
                    </a:lnTo>
                    <a:lnTo>
                      <a:pt x="1222" y="920"/>
                    </a:lnTo>
                    <a:lnTo>
                      <a:pt x="1210" y="928"/>
                    </a:lnTo>
                    <a:lnTo>
                      <a:pt x="1194" y="936"/>
                    </a:lnTo>
                    <a:lnTo>
                      <a:pt x="1178" y="936"/>
                    </a:lnTo>
                    <a:lnTo>
                      <a:pt x="1158" y="936"/>
                    </a:lnTo>
                    <a:lnTo>
                      <a:pt x="1154" y="936"/>
                    </a:lnTo>
                    <a:lnTo>
                      <a:pt x="1150" y="932"/>
                    </a:lnTo>
                    <a:lnTo>
                      <a:pt x="1142" y="920"/>
                    </a:lnTo>
                    <a:lnTo>
                      <a:pt x="1142" y="912"/>
                    </a:lnTo>
                    <a:lnTo>
                      <a:pt x="1138" y="892"/>
                    </a:lnTo>
                    <a:lnTo>
                      <a:pt x="1138" y="868"/>
                    </a:lnTo>
                    <a:lnTo>
                      <a:pt x="1138" y="860"/>
                    </a:lnTo>
                    <a:lnTo>
                      <a:pt x="1130" y="856"/>
                    </a:lnTo>
                    <a:lnTo>
                      <a:pt x="1126" y="856"/>
                    </a:lnTo>
                    <a:lnTo>
                      <a:pt x="1122" y="856"/>
                    </a:lnTo>
                    <a:lnTo>
                      <a:pt x="1118" y="848"/>
                    </a:lnTo>
                    <a:lnTo>
                      <a:pt x="1118" y="840"/>
                    </a:lnTo>
                    <a:lnTo>
                      <a:pt x="1097" y="836"/>
                    </a:lnTo>
                    <a:lnTo>
                      <a:pt x="1077" y="832"/>
                    </a:lnTo>
                    <a:lnTo>
                      <a:pt x="1045" y="832"/>
                    </a:lnTo>
                    <a:lnTo>
                      <a:pt x="1017" y="836"/>
                    </a:lnTo>
                    <a:lnTo>
                      <a:pt x="1005" y="848"/>
                    </a:lnTo>
                    <a:lnTo>
                      <a:pt x="976" y="860"/>
                    </a:lnTo>
                    <a:lnTo>
                      <a:pt x="976" y="868"/>
                    </a:lnTo>
                    <a:lnTo>
                      <a:pt x="964" y="880"/>
                    </a:lnTo>
                    <a:lnTo>
                      <a:pt x="964" y="884"/>
                    </a:lnTo>
                    <a:lnTo>
                      <a:pt x="972" y="888"/>
                    </a:lnTo>
                    <a:lnTo>
                      <a:pt x="964" y="892"/>
                    </a:lnTo>
                    <a:lnTo>
                      <a:pt x="972" y="916"/>
                    </a:lnTo>
                    <a:lnTo>
                      <a:pt x="976" y="949"/>
                    </a:lnTo>
                    <a:lnTo>
                      <a:pt x="972" y="965"/>
                    </a:lnTo>
                    <a:lnTo>
                      <a:pt x="964" y="965"/>
                    </a:lnTo>
                    <a:lnTo>
                      <a:pt x="956" y="957"/>
                    </a:lnTo>
                    <a:lnTo>
                      <a:pt x="944" y="949"/>
                    </a:lnTo>
                    <a:lnTo>
                      <a:pt x="944" y="940"/>
                    </a:lnTo>
                    <a:lnTo>
                      <a:pt x="944" y="928"/>
                    </a:lnTo>
                    <a:lnTo>
                      <a:pt x="944" y="920"/>
                    </a:lnTo>
                    <a:lnTo>
                      <a:pt x="940" y="912"/>
                    </a:lnTo>
                    <a:lnTo>
                      <a:pt x="932" y="904"/>
                    </a:lnTo>
                    <a:lnTo>
                      <a:pt x="928" y="896"/>
                    </a:lnTo>
                    <a:lnTo>
                      <a:pt x="924" y="888"/>
                    </a:lnTo>
                    <a:lnTo>
                      <a:pt x="924" y="872"/>
                    </a:lnTo>
                    <a:lnTo>
                      <a:pt x="920" y="868"/>
                    </a:lnTo>
                    <a:lnTo>
                      <a:pt x="912" y="864"/>
                    </a:lnTo>
                    <a:lnTo>
                      <a:pt x="904" y="864"/>
                    </a:lnTo>
                    <a:lnTo>
                      <a:pt x="892" y="864"/>
                    </a:lnTo>
                    <a:lnTo>
                      <a:pt x="884" y="868"/>
                    </a:lnTo>
                    <a:lnTo>
                      <a:pt x="876" y="872"/>
                    </a:lnTo>
                    <a:lnTo>
                      <a:pt x="872" y="880"/>
                    </a:lnTo>
                    <a:lnTo>
                      <a:pt x="867" y="884"/>
                    </a:lnTo>
                    <a:lnTo>
                      <a:pt x="859" y="888"/>
                    </a:lnTo>
                    <a:lnTo>
                      <a:pt x="843" y="888"/>
                    </a:lnTo>
                    <a:lnTo>
                      <a:pt x="839" y="888"/>
                    </a:lnTo>
                    <a:lnTo>
                      <a:pt x="827" y="884"/>
                    </a:lnTo>
                    <a:lnTo>
                      <a:pt x="815" y="868"/>
                    </a:lnTo>
                    <a:lnTo>
                      <a:pt x="795" y="856"/>
                    </a:lnTo>
                    <a:lnTo>
                      <a:pt x="787" y="856"/>
                    </a:lnTo>
                    <a:lnTo>
                      <a:pt x="771" y="860"/>
                    </a:lnTo>
                    <a:lnTo>
                      <a:pt x="751" y="880"/>
                    </a:lnTo>
                    <a:lnTo>
                      <a:pt x="738" y="896"/>
                    </a:lnTo>
                    <a:lnTo>
                      <a:pt x="726" y="900"/>
                    </a:lnTo>
                    <a:lnTo>
                      <a:pt x="710" y="900"/>
                    </a:lnTo>
                    <a:lnTo>
                      <a:pt x="710" y="920"/>
                    </a:lnTo>
                    <a:lnTo>
                      <a:pt x="706" y="940"/>
                    </a:lnTo>
                    <a:lnTo>
                      <a:pt x="698" y="953"/>
                    </a:lnTo>
                    <a:lnTo>
                      <a:pt x="690" y="965"/>
                    </a:lnTo>
                    <a:lnTo>
                      <a:pt x="690" y="969"/>
                    </a:lnTo>
                    <a:lnTo>
                      <a:pt x="686" y="977"/>
                    </a:lnTo>
                    <a:lnTo>
                      <a:pt x="682" y="981"/>
                    </a:lnTo>
                    <a:lnTo>
                      <a:pt x="682" y="989"/>
                    </a:lnTo>
                    <a:lnTo>
                      <a:pt x="666" y="997"/>
                    </a:lnTo>
                    <a:lnTo>
                      <a:pt x="654" y="1005"/>
                    </a:lnTo>
                    <a:lnTo>
                      <a:pt x="629" y="1005"/>
                    </a:lnTo>
                    <a:lnTo>
                      <a:pt x="613" y="1005"/>
                    </a:lnTo>
                    <a:lnTo>
                      <a:pt x="601" y="997"/>
                    </a:lnTo>
                    <a:lnTo>
                      <a:pt x="593" y="989"/>
                    </a:lnTo>
                    <a:lnTo>
                      <a:pt x="577" y="989"/>
                    </a:lnTo>
                    <a:lnTo>
                      <a:pt x="565" y="993"/>
                    </a:lnTo>
                    <a:lnTo>
                      <a:pt x="561" y="993"/>
                    </a:lnTo>
                    <a:lnTo>
                      <a:pt x="557" y="997"/>
                    </a:lnTo>
                    <a:lnTo>
                      <a:pt x="557" y="1001"/>
                    </a:lnTo>
                    <a:lnTo>
                      <a:pt x="549" y="1013"/>
                    </a:lnTo>
                    <a:lnTo>
                      <a:pt x="549" y="1057"/>
                    </a:lnTo>
                    <a:lnTo>
                      <a:pt x="545" y="1102"/>
                    </a:lnTo>
                    <a:lnTo>
                      <a:pt x="525" y="1102"/>
                    </a:lnTo>
                    <a:lnTo>
                      <a:pt x="512" y="110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 sz="800" b="1">
                  <a:cs typeface="+mn-cs"/>
                </a:endParaRPr>
              </a:p>
            </p:txBody>
          </p:sp>
          <p:sp>
            <p:nvSpPr>
              <p:cNvPr id="16" name="Freeform 24"/>
              <p:cNvSpPr>
                <a:spLocks/>
              </p:cNvSpPr>
              <p:nvPr/>
            </p:nvSpPr>
            <p:spPr bwMode="auto">
              <a:xfrm>
                <a:off x="3198898" y="4467033"/>
                <a:ext cx="817564" cy="1113895"/>
              </a:xfrm>
              <a:custGeom>
                <a:avLst/>
                <a:gdLst>
                  <a:gd name="T0" fmla="*/ 538805507 w 911"/>
                  <a:gd name="T1" fmla="*/ 944707187 h 1251"/>
                  <a:gd name="T2" fmla="*/ 460682829 w 911"/>
                  <a:gd name="T3" fmla="*/ 938626439 h 1251"/>
                  <a:gd name="T4" fmla="*/ 412359574 w 911"/>
                  <a:gd name="T5" fmla="*/ 944707187 h 1251"/>
                  <a:gd name="T6" fmla="*/ 393029733 w 911"/>
                  <a:gd name="T7" fmla="*/ 901385889 h 1251"/>
                  <a:gd name="T8" fmla="*/ 370479000 w 911"/>
                  <a:gd name="T9" fmla="*/ 883145389 h 1251"/>
                  <a:gd name="T10" fmla="*/ 321349849 w 911"/>
                  <a:gd name="T11" fmla="*/ 883145389 h 1251"/>
                  <a:gd name="T12" fmla="*/ 279470173 w 911"/>
                  <a:gd name="T13" fmla="*/ 874024703 h 1251"/>
                  <a:gd name="T14" fmla="*/ 265778016 w 911"/>
                  <a:gd name="T15" fmla="*/ 785101937 h 1251"/>
                  <a:gd name="T16" fmla="*/ 289134645 w 911"/>
                  <a:gd name="T17" fmla="*/ 763821498 h 1251"/>
                  <a:gd name="T18" fmla="*/ 268999806 w 911"/>
                  <a:gd name="T19" fmla="*/ 720500419 h 1251"/>
                  <a:gd name="T20" fmla="*/ 246449073 w 911"/>
                  <a:gd name="T21" fmla="*/ 690099294 h 1251"/>
                  <a:gd name="T22" fmla="*/ 201347551 w 911"/>
                  <a:gd name="T23" fmla="*/ 687059356 h 1251"/>
                  <a:gd name="T24" fmla="*/ 174769133 w 911"/>
                  <a:gd name="T25" fmla="*/ 661978777 h 1251"/>
                  <a:gd name="T26" fmla="*/ 136110349 w 911"/>
                  <a:gd name="T27" fmla="*/ 665778918 h 1251"/>
                  <a:gd name="T28" fmla="*/ 120003195 w 911"/>
                  <a:gd name="T29" fmla="*/ 671858794 h 1251"/>
                  <a:gd name="T30" fmla="*/ 84566173 w 911"/>
                  <a:gd name="T31" fmla="*/ 646778215 h 1251"/>
                  <a:gd name="T32" fmla="*/ 64431334 w 911"/>
                  <a:gd name="T33" fmla="*/ 610297214 h 1251"/>
                  <a:gd name="T34" fmla="*/ 84566173 w 911"/>
                  <a:gd name="T35" fmla="*/ 557855448 h 1251"/>
                  <a:gd name="T36" fmla="*/ 48323269 w 911"/>
                  <a:gd name="T37" fmla="*/ 530495134 h 1251"/>
                  <a:gd name="T38" fmla="*/ 6442684 w 911"/>
                  <a:gd name="T39" fmla="*/ 500094009 h 1251"/>
                  <a:gd name="T40" fmla="*/ 12886265 w 911"/>
                  <a:gd name="T41" fmla="*/ 450692945 h 1251"/>
                  <a:gd name="T42" fmla="*/ 0 w 911"/>
                  <a:gd name="T43" fmla="*/ 402051320 h 1251"/>
                  <a:gd name="T44" fmla="*/ 16108058 w 911"/>
                  <a:gd name="T45" fmla="*/ 370890864 h 1251"/>
                  <a:gd name="T46" fmla="*/ 25772529 w 911"/>
                  <a:gd name="T47" fmla="*/ 349609554 h 1251"/>
                  <a:gd name="T48" fmla="*/ 38658798 w 911"/>
                  <a:gd name="T49" fmla="*/ 313128553 h 1251"/>
                  <a:gd name="T50" fmla="*/ 41880587 w 911"/>
                  <a:gd name="T51" fmla="*/ 245487097 h 1251"/>
                  <a:gd name="T52" fmla="*/ 77317595 w 911"/>
                  <a:gd name="T53" fmla="*/ 224206605 h 1251"/>
                  <a:gd name="T54" fmla="*/ 126445877 w 911"/>
                  <a:gd name="T55" fmla="*/ 211285778 h 1251"/>
                  <a:gd name="T56" fmla="*/ 142553928 w 911"/>
                  <a:gd name="T57" fmla="*/ 186965401 h 1251"/>
                  <a:gd name="T58" fmla="*/ 178796818 w 911"/>
                  <a:gd name="T59" fmla="*/ 150484401 h 1251"/>
                  <a:gd name="T60" fmla="*/ 207790233 w 911"/>
                  <a:gd name="T61" fmla="*/ 101082546 h 1251"/>
                  <a:gd name="T62" fmla="*/ 236784601 w 911"/>
                  <a:gd name="T63" fmla="*/ 70682293 h 1251"/>
                  <a:gd name="T64" fmla="*/ 276248384 w 911"/>
                  <a:gd name="T65" fmla="*/ 15200569 h 1251"/>
                  <a:gd name="T66" fmla="*/ 308464485 w 911"/>
                  <a:gd name="T67" fmla="*/ 0 h 1251"/>
                  <a:gd name="T68" fmla="*/ 327793428 w 911"/>
                  <a:gd name="T69" fmla="*/ 21280445 h 1251"/>
                  <a:gd name="T70" fmla="*/ 337457900 w 911"/>
                  <a:gd name="T71" fmla="*/ 46361031 h 1251"/>
                  <a:gd name="T72" fmla="*/ 402694205 w 911"/>
                  <a:gd name="T73" fmla="*/ 61561607 h 1251"/>
                  <a:gd name="T74" fmla="*/ 464709617 w 911"/>
                  <a:gd name="T75" fmla="*/ 61561607 h 1251"/>
                  <a:gd name="T76" fmla="*/ 513032985 w 911"/>
                  <a:gd name="T77" fmla="*/ 49400969 h 1251"/>
                  <a:gd name="T78" fmla="*/ 532361928 w 911"/>
                  <a:gd name="T79" fmla="*/ 70682293 h 1251"/>
                  <a:gd name="T80" fmla="*/ 529141036 w 911"/>
                  <a:gd name="T81" fmla="*/ 98042608 h 1251"/>
                  <a:gd name="T82" fmla="*/ 535583718 w 911"/>
                  <a:gd name="T83" fmla="*/ 125403821 h 1251"/>
                  <a:gd name="T84" fmla="*/ 565383028 w 911"/>
                  <a:gd name="T85" fmla="*/ 141363714 h 1251"/>
                  <a:gd name="T86" fmla="*/ 562161239 w 911"/>
                  <a:gd name="T87" fmla="*/ 165684963 h 1251"/>
                  <a:gd name="T88" fmla="*/ 578269290 w 911"/>
                  <a:gd name="T89" fmla="*/ 227246543 h 1251"/>
                  <a:gd name="T90" fmla="*/ 597599130 w 911"/>
                  <a:gd name="T91" fmla="*/ 217366526 h 1251"/>
                  <a:gd name="T92" fmla="*/ 645922385 w 911"/>
                  <a:gd name="T93" fmla="*/ 236366411 h 1251"/>
                  <a:gd name="T94" fmla="*/ 669278117 w 911"/>
                  <a:gd name="T95" fmla="*/ 306288475 h 1251"/>
                  <a:gd name="T96" fmla="*/ 711158690 w 911"/>
                  <a:gd name="T97" fmla="*/ 355690302 h 1251"/>
                  <a:gd name="T98" fmla="*/ 733709423 w 911"/>
                  <a:gd name="T99" fmla="*/ 414211944 h 1251"/>
                  <a:gd name="T100" fmla="*/ 714380480 w 911"/>
                  <a:gd name="T101" fmla="*/ 444612197 h 1251"/>
                  <a:gd name="T102" fmla="*/ 720823162 w 911"/>
                  <a:gd name="T103" fmla="*/ 542655758 h 1251"/>
                  <a:gd name="T104" fmla="*/ 711158690 w 911"/>
                  <a:gd name="T105" fmla="*/ 607257276 h 1251"/>
                  <a:gd name="T106" fmla="*/ 691828850 w 911"/>
                  <a:gd name="T107" fmla="*/ 634617591 h 1251"/>
                  <a:gd name="T108" fmla="*/ 669278117 w 911"/>
                  <a:gd name="T109" fmla="*/ 655898901 h 1251"/>
                  <a:gd name="T110" fmla="*/ 639478806 w 911"/>
                  <a:gd name="T111" fmla="*/ 671858794 h 1251"/>
                  <a:gd name="T112" fmla="*/ 629814334 w 911"/>
                  <a:gd name="T113" fmla="*/ 735700981 h 1251"/>
                  <a:gd name="T114" fmla="*/ 620149863 w 911"/>
                  <a:gd name="T115" fmla="*/ 782061998 h 1251"/>
                  <a:gd name="T116" fmla="*/ 600820022 w 911"/>
                  <a:gd name="T117" fmla="*/ 874024703 h 1251"/>
                  <a:gd name="T118" fmla="*/ 597599130 w 911"/>
                  <a:gd name="T119" fmla="*/ 928746422 h 1251"/>
                  <a:gd name="T120" fmla="*/ 604041812 w 911"/>
                  <a:gd name="T121" fmla="*/ 950787063 h 125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911"/>
                  <a:gd name="T184" fmla="*/ 0 h 1251"/>
                  <a:gd name="T185" fmla="*/ 911 w 911"/>
                  <a:gd name="T186" fmla="*/ 1251 h 125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911" h="1251">
                    <a:moveTo>
                      <a:pt x="738" y="1251"/>
                    </a:moveTo>
                    <a:lnTo>
                      <a:pt x="726" y="1247"/>
                    </a:lnTo>
                    <a:lnTo>
                      <a:pt x="710" y="1247"/>
                    </a:lnTo>
                    <a:lnTo>
                      <a:pt x="669" y="1243"/>
                    </a:lnTo>
                    <a:lnTo>
                      <a:pt x="625" y="1243"/>
                    </a:lnTo>
                    <a:lnTo>
                      <a:pt x="613" y="1239"/>
                    </a:lnTo>
                    <a:lnTo>
                      <a:pt x="605" y="1235"/>
                    </a:lnTo>
                    <a:lnTo>
                      <a:pt x="572" y="1235"/>
                    </a:lnTo>
                    <a:lnTo>
                      <a:pt x="540" y="1227"/>
                    </a:lnTo>
                    <a:lnTo>
                      <a:pt x="528" y="1235"/>
                    </a:lnTo>
                    <a:lnTo>
                      <a:pt x="512" y="1243"/>
                    </a:lnTo>
                    <a:lnTo>
                      <a:pt x="500" y="1239"/>
                    </a:lnTo>
                    <a:lnTo>
                      <a:pt x="496" y="1214"/>
                    </a:lnTo>
                    <a:lnTo>
                      <a:pt x="492" y="1194"/>
                    </a:lnTo>
                    <a:lnTo>
                      <a:pt x="488" y="1186"/>
                    </a:lnTo>
                    <a:lnTo>
                      <a:pt x="476" y="1186"/>
                    </a:lnTo>
                    <a:lnTo>
                      <a:pt x="476" y="1174"/>
                    </a:lnTo>
                    <a:lnTo>
                      <a:pt x="472" y="1166"/>
                    </a:lnTo>
                    <a:lnTo>
                      <a:pt x="460" y="1162"/>
                    </a:lnTo>
                    <a:lnTo>
                      <a:pt x="447" y="1158"/>
                    </a:lnTo>
                    <a:lnTo>
                      <a:pt x="431" y="1158"/>
                    </a:lnTo>
                    <a:lnTo>
                      <a:pt x="411" y="1158"/>
                    </a:lnTo>
                    <a:lnTo>
                      <a:pt x="399" y="1162"/>
                    </a:lnTo>
                    <a:lnTo>
                      <a:pt x="387" y="1162"/>
                    </a:lnTo>
                    <a:lnTo>
                      <a:pt x="367" y="1162"/>
                    </a:lnTo>
                    <a:lnTo>
                      <a:pt x="347" y="1162"/>
                    </a:lnTo>
                    <a:lnTo>
                      <a:pt x="347" y="1150"/>
                    </a:lnTo>
                    <a:lnTo>
                      <a:pt x="343" y="1130"/>
                    </a:lnTo>
                    <a:lnTo>
                      <a:pt x="334" y="1126"/>
                    </a:lnTo>
                    <a:lnTo>
                      <a:pt x="334" y="1081"/>
                    </a:lnTo>
                    <a:lnTo>
                      <a:pt x="330" y="1033"/>
                    </a:lnTo>
                    <a:lnTo>
                      <a:pt x="334" y="1029"/>
                    </a:lnTo>
                    <a:lnTo>
                      <a:pt x="347" y="1025"/>
                    </a:lnTo>
                    <a:lnTo>
                      <a:pt x="351" y="1017"/>
                    </a:lnTo>
                    <a:lnTo>
                      <a:pt x="359" y="1005"/>
                    </a:lnTo>
                    <a:lnTo>
                      <a:pt x="359" y="984"/>
                    </a:lnTo>
                    <a:lnTo>
                      <a:pt x="355" y="968"/>
                    </a:lnTo>
                    <a:lnTo>
                      <a:pt x="347" y="956"/>
                    </a:lnTo>
                    <a:lnTo>
                      <a:pt x="334" y="948"/>
                    </a:lnTo>
                    <a:lnTo>
                      <a:pt x="330" y="932"/>
                    </a:lnTo>
                    <a:lnTo>
                      <a:pt x="326" y="924"/>
                    </a:lnTo>
                    <a:lnTo>
                      <a:pt x="318" y="912"/>
                    </a:lnTo>
                    <a:lnTo>
                      <a:pt x="306" y="908"/>
                    </a:lnTo>
                    <a:lnTo>
                      <a:pt x="298" y="912"/>
                    </a:lnTo>
                    <a:lnTo>
                      <a:pt x="286" y="912"/>
                    </a:lnTo>
                    <a:lnTo>
                      <a:pt x="278" y="908"/>
                    </a:lnTo>
                    <a:lnTo>
                      <a:pt x="250" y="904"/>
                    </a:lnTo>
                    <a:lnTo>
                      <a:pt x="242" y="892"/>
                    </a:lnTo>
                    <a:lnTo>
                      <a:pt x="226" y="876"/>
                    </a:lnTo>
                    <a:lnTo>
                      <a:pt x="222" y="871"/>
                    </a:lnTo>
                    <a:lnTo>
                      <a:pt x="217" y="871"/>
                    </a:lnTo>
                    <a:lnTo>
                      <a:pt x="205" y="871"/>
                    </a:lnTo>
                    <a:lnTo>
                      <a:pt x="189" y="871"/>
                    </a:lnTo>
                    <a:lnTo>
                      <a:pt x="177" y="876"/>
                    </a:lnTo>
                    <a:lnTo>
                      <a:pt x="169" y="876"/>
                    </a:lnTo>
                    <a:lnTo>
                      <a:pt x="169" y="880"/>
                    </a:lnTo>
                    <a:lnTo>
                      <a:pt x="165" y="880"/>
                    </a:lnTo>
                    <a:lnTo>
                      <a:pt x="157" y="884"/>
                    </a:lnTo>
                    <a:lnTo>
                      <a:pt x="149" y="884"/>
                    </a:lnTo>
                    <a:lnTo>
                      <a:pt x="133" y="880"/>
                    </a:lnTo>
                    <a:lnTo>
                      <a:pt x="125" y="871"/>
                    </a:lnTo>
                    <a:lnTo>
                      <a:pt x="113" y="859"/>
                    </a:lnTo>
                    <a:lnTo>
                      <a:pt x="105" y="851"/>
                    </a:lnTo>
                    <a:lnTo>
                      <a:pt x="96" y="843"/>
                    </a:lnTo>
                    <a:lnTo>
                      <a:pt x="80" y="827"/>
                    </a:lnTo>
                    <a:lnTo>
                      <a:pt x="80" y="815"/>
                    </a:lnTo>
                    <a:lnTo>
                      <a:pt x="80" y="803"/>
                    </a:lnTo>
                    <a:lnTo>
                      <a:pt x="96" y="783"/>
                    </a:lnTo>
                    <a:lnTo>
                      <a:pt x="105" y="771"/>
                    </a:lnTo>
                    <a:lnTo>
                      <a:pt x="105" y="750"/>
                    </a:lnTo>
                    <a:lnTo>
                      <a:pt x="105" y="734"/>
                    </a:lnTo>
                    <a:lnTo>
                      <a:pt x="101" y="730"/>
                    </a:lnTo>
                    <a:lnTo>
                      <a:pt x="101" y="718"/>
                    </a:lnTo>
                    <a:lnTo>
                      <a:pt x="88" y="714"/>
                    </a:lnTo>
                    <a:lnTo>
                      <a:pt x="60" y="698"/>
                    </a:lnTo>
                    <a:lnTo>
                      <a:pt x="56" y="686"/>
                    </a:lnTo>
                    <a:lnTo>
                      <a:pt x="52" y="670"/>
                    </a:lnTo>
                    <a:lnTo>
                      <a:pt x="28" y="662"/>
                    </a:lnTo>
                    <a:lnTo>
                      <a:pt x="8" y="658"/>
                    </a:lnTo>
                    <a:lnTo>
                      <a:pt x="8" y="629"/>
                    </a:lnTo>
                    <a:lnTo>
                      <a:pt x="12" y="617"/>
                    </a:lnTo>
                    <a:lnTo>
                      <a:pt x="16" y="613"/>
                    </a:lnTo>
                    <a:lnTo>
                      <a:pt x="16" y="593"/>
                    </a:lnTo>
                    <a:lnTo>
                      <a:pt x="16" y="565"/>
                    </a:lnTo>
                    <a:lnTo>
                      <a:pt x="8" y="557"/>
                    </a:lnTo>
                    <a:lnTo>
                      <a:pt x="0" y="553"/>
                    </a:lnTo>
                    <a:lnTo>
                      <a:pt x="0" y="529"/>
                    </a:lnTo>
                    <a:lnTo>
                      <a:pt x="0" y="508"/>
                    </a:lnTo>
                    <a:lnTo>
                      <a:pt x="12" y="500"/>
                    </a:lnTo>
                    <a:lnTo>
                      <a:pt x="20" y="496"/>
                    </a:lnTo>
                    <a:lnTo>
                      <a:pt x="20" y="488"/>
                    </a:lnTo>
                    <a:lnTo>
                      <a:pt x="20" y="480"/>
                    </a:lnTo>
                    <a:lnTo>
                      <a:pt x="24" y="476"/>
                    </a:lnTo>
                    <a:lnTo>
                      <a:pt x="28" y="468"/>
                    </a:lnTo>
                    <a:lnTo>
                      <a:pt x="32" y="460"/>
                    </a:lnTo>
                    <a:lnTo>
                      <a:pt x="32" y="444"/>
                    </a:lnTo>
                    <a:lnTo>
                      <a:pt x="40" y="440"/>
                    </a:lnTo>
                    <a:lnTo>
                      <a:pt x="44" y="436"/>
                    </a:lnTo>
                    <a:lnTo>
                      <a:pt x="48" y="412"/>
                    </a:lnTo>
                    <a:lnTo>
                      <a:pt x="56" y="387"/>
                    </a:lnTo>
                    <a:lnTo>
                      <a:pt x="56" y="367"/>
                    </a:lnTo>
                    <a:lnTo>
                      <a:pt x="56" y="347"/>
                    </a:lnTo>
                    <a:lnTo>
                      <a:pt x="52" y="323"/>
                    </a:lnTo>
                    <a:lnTo>
                      <a:pt x="52" y="311"/>
                    </a:lnTo>
                    <a:lnTo>
                      <a:pt x="52" y="303"/>
                    </a:lnTo>
                    <a:lnTo>
                      <a:pt x="60" y="295"/>
                    </a:lnTo>
                    <a:lnTo>
                      <a:pt x="96" y="295"/>
                    </a:lnTo>
                    <a:lnTo>
                      <a:pt x="133" y="295"/>
                    </a:lnTo>
                    <a:lnTo>
                      <a:pt x="141" y="286"/>
                    </a:lnTo>
                    <a:lnTo>
                      <a:pt x="153" y="282"/>
                    </a:lnTo>
                    <a:lnTo>
                      <a:pt x="157" y="278"/>
                    </a:lnTo>
                    <a:lnTo>
                      <a:pt x="165" y="270"/>
                    </a:lnTo>
                    <a:lnTo>
                      <a:pt x="165" y="262"/>
                    </a:lnTo>
                    <a:lnTo>
                      <a:pt x="165" y="254"/>
                    </a:lnTo>
                    <a:lnTo>
                      <a:pt x="177" y="246"/>
                    </a:lnTo>
                    <a:lnTo>
                      <a:pt x="193" y="234"/>
                    </a:lnTo>
                    <a:lnTo>
                      <a:pt x="193" y="226"/>
                    </a:lnTo>
                    <a:lnTo>
                      <a:pt x="201" y="218"/>
                    </a:lnTo>
                    <a:lnTo>
                      <a:pt x="222" y="198"/>
                    </a:lnTo>
                    <a:lnTo>
                      <a:pt x="242" y="186"/>
                    </a:lnTo>
                    <a:lnTo>
                      <a:pt x="246" y="169"/>
                    </a:lnTo>
                    <a:lnTo>
                      <a:pt x="250" y="153"/>
                    </a:lnTo>
                    <a:lnTo>
                      <a:pt x="258" y="133"/>
                    </a:lnTo>
                    <a:lnTo>
                      <a:pt x="274" y="113"/>
                    </a:lnTo>
                    <a:lnTo>
                      <a:pt x="278" y="105"/>
                    </a:lnTo>
                    <a:lnTo>
                      <a:pt x="286" y="97"/>
                    </a:lnTo>
                    <a:lnTo>
                      <a:pt x="294" y="93"/>
                    </a:lnTo>
                    <a:lnTo>
                      <a:pt x="302" y="81"/>
                    </a:lnTo>
                    <a:lnTo>
                      <a:pt x="306" y="57"/>
                    </a:lnTo>
                    <a:lnTo>
                      <a:pt x="306" y="24"/>
                    </a:lnTo>
                    <a:lnTo>
                      <a:pt x="343" y="20"/>
                    </a:lnTo>
                    <a:lnTo>
                      <a:pt x="355" y="16"/>
                    </a:lnTo>
                    <a:lnTo>
                      <a:pt x="363" y="4"/>
                    </a:lnTo>
                    <a:lnTo>
                      <a:pt x="367" y="0"/>
                    </a:lnTo>
                    <a:lnTo>
                      <a:pt x="383" y="0"/>
                    </a:lnTo>
                    <a:lnTo>
                      <a:pt x="399" y="0"/>
                    </a:lnTo>
                    <a:lnTo>
                      <a:pt x="399" y="8"/>
                    </a:lnTo>
                    <a:lnTo>
                      <a:pt x="407" y="16"/>
                    </a:lnTo>
                    <a:lnTo>
                      <a:pt x="407" y="28"/>
                    </a:lnTo>
                    <a:lnTo>
                      <a:pt x="411" y="28"/>
                    </a:lnTo>
                    <a:lnTo>
                      <a:pt x="411" y="32"/>
                    </a:lnTo>
                    <a:lnTo>
                      <a:pt x="415" y="48"/>
                    </a:lnTo>
                    <a:lnTo>
                      <a:pt x="419" y="61"/>
                    </a:lnTo>
                    <a:lnTo>
                      <a:pt x="439" y="61"/>
                    </a:lnTo>
                    <a:lnTo>
                      <a:pt x="460" y="61"/>
                    </a:lnTo>
                    <a:lnTo>
                      <a:pt x="480" y="69"/>
                    </a:lnTo>
                    <a:lnTo>
                      <a:pt x="500" y="81"/>
                    </a:lnTo>
                    <a:lnTo>
                      <a:pt x="524" y="81"/>
                    </a:lnTo>
                    <a:lnTo>
                      <a:pt x="548" y="81"/>
                    </a:lnTo>
                    <a:lnTo>
                      <a:pt x="560" y="81"/>
                    </a:lnTo>
                    <a:lnTo>
                      <a:pt x="577" y="81"/>
                    </a:lnTo>
                    <a:lnTo>
                      <a:pt x="589" y="81"/>
                    </a:lnTo>
                    <a:lnTo>
                      <a:pt x="609" y="69"/>
                    </a:lnTo>
                    <a:lnTo>
                      <a:pt x="625" y="65"/>
                    </a:lnTo>
                    <a:lnTo>
                      <a:pt x="637" y="65"/>
                    </a:lnTo>
                    <a:lnTo>
                      <a:pt x="653" y="65"/>
                    </a:lnTo>
                    <a:lnTo>
                      <a:pt x="665" y="69"/>
                    </a:lnTo>
                    <a:lnTo>
                      <a:pt x="661" y="81"/>
                    </a:lnTo>
                    <a:lnTo>
                      <a:pt x="661" y="93"/>
                    </a:lnTo>
                    <a:lnTo>
                      <a:pt x="657" y="97"/>
                    </a:lnTo>
                    <a:lnTo>
                      <a:pt x="645" y="101"/>
                    </a:lnTo>
                    <a:lnTo>
                      <a:pt x="653" y="113"/>
                    </a:lnTo>
                    <a:lnTo>
                      <a:pt x="657" y="129"/>
                    </a:lnTo>
                    <a:lnTo>
                      <a:pt x="661" y="133"/>
                    </a:lnTo>
                    <a:lnTo>
                      <a:pt x="665" y="145"/>
                    </a:lnTo>
                    <a:lnTo>
                      <a:pt x="665" y="153"/>
                    </a:lnTo>
                    <a:lnTo>
                      <a:pt x="665" y="165"/>
                    </a:lnTo>
                    <a:lnTo>
                      <a:pt x="677" y="169"/>
                    </a:lnTo>
                    <a:lnTo>
                      <a:pt x="694" y="169"/>
                    </a:lnTo>
                    <a:lnTo>
                      <a:pt x="698" y="182"/>
                    </a:lnTo>
                    <a:lnTo>
                      <a:pt x="702" y="186"/>
                    </a:lnTo>
                    <a:lnTo>
                      <a:pt x="702" y="190"/>
                    </a:lnTo>
                    <a:lnTo>
                      <a:pt x="698" y="198"/>
                    </a:lnTo>
                    <a:lnTo>
                      <a:pt x="698" y="206"/>
                    </a:lnTo>
                    <a:lnTo>
                      <a:pt x="698" y="218"/>
                    </a:lnTo>
                    <a:lnTo>
                      <a:pt x="702" y="238"/>
                    </a:lnTo>
                    <a:lnTo>
                      <a:pt x="706" y="262"/>
                    </a:lnTo>
                    <a:lnTo>
                      <a:pt x="710" y="278"/>
                    </a:lnTo>
                    <a:lnTo>
                      <a:pt x="718" y="299"/>
                    </a:lnTo>
                    <a:lnTo>
                      <a:pt x="726" y="299"/>
                    </a:lnTo>
                    <a:lnTo>
                      <a:pt x="734" y="299"/>
                    </a:lnTo>
                    <a:lnTo>
                      <a:pt x="738" y="295"/>
                    </a:lnTo>
                    <a:lnTo>
                      <a:pt x="742" y="286"/>
                    </a:lnTo>
                    <a:lnTo>
                      <a:pt x="758" y="286"/>
                    </a:lnTo>
                    <a:lnTo>
                      <a:pt x="774" y="286"/>
                    </a:lnTo>
                    <a:lnTo>
                      <a:pt x="786" y="303"/>
                    </a:lnTo>
                    <a:lnTo>
                      <a:pt x="802" y="311"/>
                    </a:lnTo>
                    <a:lnTo>
                      <a:pt x="811" y="323"/>
                    </a:lnTo>
                    <a:lnTo>
                      <a:pt x="823" y="335"/>
                    </a:lnTo>
                    <a:lnTo>
                      <a:pt x="823" y="367"/>
                    </a:lnTo>
                    <a:lnTo>
                      <a:pt x="831" y="403"/>
                    </a:lnTo>
                    <a:lnTo>
                      <a:pt x="847" y="424"/>
                    </a:lnTo>
                    <a:lnTo>
                      <a:pt x="863" y="448"/>
                    </a:lnTo>
                    <a:lnTo>
                      <a:pt x="871" y="460"/>
                    </a:lnTo>
                    <a:lnTo>
                      <a:pt x="883" y="468"/>
                    </a:lnTo>
                    <a:lnTo>
                      <a:pt x="887" y="496"/>
                    </a:lnTo>
                    <a:lnTo>
                      <a:pt x="895" y="525"/>
                    </a:lnTo>
                    <a:lnTo>
                      <a:pt x="899" y="533"/>
                    </a:lnTo>
                    <a:lnTo>
                      <a:pt x="911" y="545"/>
                    </a:lnTo>
                    <a:lnTo>
                      <a:pt x="911" y="549"/>
                    </a:lnTo>
                    <a:lnTo>
                      <a:pt x="911" y="553"/>
                    </a:lnTo>
                    <a:lnTo>
                      <a:pt x="895" y="569"/>
                    </a:lnTo>
                    <a:lnTo>
                      <a:pt x="887" y="585"/>
                    </a:lnTo>
                    <a:lnTo>
                      <a:pt x="887" y="633"/>
                    </a:lnTo>
                    <a:lnTo>
                      <a:pt x="891" y="702"/>
                    </a:lnTo>
                    <a:lnTo>
                      <a:pt x="891" y="714"/>
                    </a:lnTo>
                    <a:lnTo>
                      <a:pt x="895" y="714"/>
                    </a:lnTo>
                    <a:lnTo>
                      <a:pt x="891" y="750"/>
                    </a:lnTo>
                    <a:lnTo>
                      <a:pt x="891" y="775"/>
                    </a:lnTo>
                    <a:lnTo>
                      <a:pt x="887" y="783"/>
                    </a:lnTo>
                    <a:lnTo>
                      <a:pt x="883" y="799"/>
                    </a:lnTo>
                    <a:lnTo>
                      <a:pt x="875" y="803"/>
                    </a:lnTo>
                    <a:lnTo>
                      <a:pt x="875" y="811"/>
                    </a:lnTo>
                    <a:lnTo>
                      <a:pt x="871" y="819"/>
                    </a:lnTo>
                    <a:lnTo>
                      <a:pt x="859" y="835"/>
                    </a:lnTo>
                    <a:lnTo>
                      <a:pt x="851" y="843"/>
                    </a:lnTo>
                    <a:lnTo>
                      <a:pt x="851" y="847"/>
                    </a:lnTo>
                    <a:lnTo>
                      <a:pt x="847" y="851"/>
                    </a:lnTo>
                    <a:lnTo>
                      <a:pt x="831" y="863"/>
                    </a:lnTo>
                    <a:lnTo>
                      <a:pt x="815" y="871"/>
                    </a:lnTo>
                    <a:lnTo>
                      <a:pt x="806" y="876"/>
                    </a:lnTo>
                    <a:lnTo>
                      <a:pt x="798" y="876"/>
                    </a:lnTo>
                    <a:lnTo>
                      <a:pt x="794" y="884"/>
                    </a:lnTo>
                    <a:lnTo>
                      <a:pt x="786" y="896"/>
                    </a:lnTo>
                    <a:lnTo>
                      <a:pt x="794" y="900"/>
                    </a:lnTo>
                    <a:lnTo>
                      <a:pt x="786" y="912"/>
                    </a:lnTo>
                    <a:lnTo>
                      <a:pt x="782" y="968"/>
                    </a:lnTo>
                    <a:lnTo>
                      <a:pt x="778" y="972"/>
                    </a:lnTo>
                    <a:lnTo>
                      <a:pt x="774" y="984"/>
                    </a:lnTo>
                    <a:lnTo>
                      <a:pt x="774" y="1005"/>
                    </a:lnTo>
                    <a:lnTo>
                      <a:pt x="770" y="1029"/>
                    </a:lnTo>
                    <a:lnTo>
                      <a:pt x="762" y="1069"/>
                    </a:lnTo>
                    <a:lnTo>
                      <a:pt x="754" y="1126"/>
                    </a:lnTo>
                    <a:lnTo>
                      <a:pt x="750" y="1134"/>
                    </a:lnTo>
                    <a:lnTo>
                      <a:pt x="746" y="1150"/>
                    </a:lnTo>
                    <a:lnTo>
                      <a:pt x="742" y="1154"/>
                    </a:lnTo>
                    <a:lnTo>
                      <a:pt x="738" y="1158"/>
                    </a:lnTo>
                    <a:lnTo>
                      <a:pt x="742" y="1186"/>
                    </a:lnTo>
                    <a:lnTo>
                      <a:pt x="742" y="1222"/>
                    </a:lnTo>
                    <a:lnTo>
                      <a:pt x="746" y="1227"/>
                    </a:lnTo>
                    <a:lnTo>
                      <a:pt x="750" y="1239"/>
                    </a:lnTo>
                    <a:lnTo>
                      <a:pt x="750" y="1243"/>
                    </a:lnTo>
                    <a:lnTo>
                      <a:pt x="750" y="1251"/>
                    </a:lnTo>
                    <a:lnTo>
                      <a:pt x="746" y="1251"/>
                    </a:lnTo>
                    <a:lnTo>
                      <a:pt x="738" y="1251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17" name="Freeform 25"/>
              <p:cNvSpPr>
                <a:spLocks/>
              </p:cNvSpPr>
              <p:nvPr/>
            </p:nvSpPr>
            <p:spPr bwMode="auto">
              <a:xfrm>
                <a:off x="7612152" y="4891837"/>
                <a:ext cx="692151" cy="638828"/>
              </a:xfrm>
              <a:custGeom>
                <a:avLst/>
                <a:gdLst>
                  <a:gd name="T0" fmla="*/ 166019049 w 771"/>
                  <a:gd name="T1" fmla="*/ 523624538 h 718"/>
                  <a:gd name="T2" fmla="*/ 166019049 w 771"/>
                  <a:gd name="T3" fmla="*/ 505411722 h 718"/>
                  <a:gd name="T4" fmla="*/ 130558716 w 771"/>
                  <a:gd name="T5" fmla="*/ 493269845 h 718"/>
                  <a:gd name="T6" fmla="*/ 107187187 w 771"/>
                  <a:gd name="T7" fmla="*/ 462155524 h 718"/>
                  <a:gd name="T8" fmla="*/ 103963439 w 771"/>
                  <a:gd name="T9" fmla="*/ 431800723 h 718"/>
                  <a:gd name="T10" fmla="*/ 100739691 w 771"/>
                  <a:gd name="T11" fmla="*/ 395374221 h 718"/>
                  <a:gd name="T12" fmla="*/ 74950603 w 771"/>
                  <a:gd name="T13" fmla="*/ 367295804 h 718"/>
                  <a:gd name="T14" fmla="*/ 45937753 w 771"/>
                  <a:gd name="T15" fmla="*/ 349082989 h 718"/>
                  <a:gd name="T16" fmla="*/ 42714004 w 771"/>
                  <a:gd name="T17" fmla="*/ 330870173 h 718"/>
                  <a:gd name="T18" fmla="*/ 55608099 w 771"/>
                  <a:gd name="T19" fmla="*/ 306586420 h 718"/>
                  <a:gd name="T20" fmla="*/ 45937753 w 771"/>
                  <a:gd name="T21" fmla="*/ 281543036 h 718"/>
                  <a:gd name="T22" fmla="*/ 16118748 w 771"/>
                  <a:gd name="T23" fmla="*/ 263330221 h 718"/>
                  <a:gd name="T24" fmla="*/ 0 w 771"/>
                  <a:gd name="T25" fmla="*/ 254223378 h 718"/>
                  <a:gd name="T26" fmla="*/ 0 w 771"/>
                  <a:gd name="T27" fmla="*/ 232974658 h 718"/>
                  <a:gd name="T28" fmla="*/ 22565347 w 771"/>
                  <a:gd name="T29" fmla="*/ 220832727 h 718"/>
                  <a:gd name="T30" fmla="*/ 55608099 w 771"/>
                  <a:gd name="T31" fmla="*/ 210967996 h 718"/>
                  <a:gd name="T32" fmla="*/ 84621847 w 771"/>
                  <a:gd name="T33" fmla="*/ 171506461 h 718"/>
                  <a:gd name="T34" fmla="*/ 130558716 w 771"/>
                  <a:gd name="T35" fmla="*/ 171506461 h 718"/>
                  <a:gd name="T36" fmla="*/ 231299276 w 771"/>
                  <a:gd name="T37" fmla="*/ 174541494 h 718"/>
                  <a:gd name="T38" fmla="*/ 253864672 w 771"/>
                  <a:gd name="T39" fmla="*/ 159363713 h 718"/>
                  <a:gd name="T40" fmla="*/ 273207161 w 771"/>
                  <a:gd name="T41" fmla="*/ 144186802 h 718"/>
                  <a:gd name="T42" fmla="*/ 295772501 w 771"/>
                  <a:gd name="T43" fmla="*/ 132044925 h 718"/>
                  <a:gd name="T44" fmla="*/ 367499328 w 771"/>
                  <a:gd name="T45" fmla="*/ 113072453 h 718"/>
                  <a:gd name="T46" fmla="*/ 399735912 w 771"/>
                  <a:gd name="T47" fmla="*/ 103966481 h 718"/>
                  <a:gd name="T48" fmla="*/ 426331161 w 771"/>
                  <a:gd name="T49" fmla="*/ 79681856 h 718"/>
                  <a:gd name="T50" fmla="*/ 442449902 w 771"/>
                  <a:gd name="T51" fmla="*/ 76646823 h 718"/>
                  <a:gd name="T52" fmla="*/ 471462850 w 771"/>
                  <a:gd name="T53" fmla="*/ 91823733 h 718"/>
                  <a:gd name="T54" fmla="*/ 500476584 w 771"/>
                  <a:gd name="T55" fmla="*/ 79681856 h 718"/>
                  <a:gd name="T56" fmla="*/ 523848085 w 771"/>
                  <a:gd name="T57" fmla="*/ 55398089 h 718"/>
                  <a:gd name="T58" fmla="*/ 533518432 w 771"/>
                  <a:gd name="T59" fmla="*/ 30354706 h 718"/>
                  <a:gd name="T60" fmla="*/ 565755914 w 771"/>
                  <a:gd name="T61" fmla="*/ 0 h 718"/>
                  <a:gd name="T62" fmla="*/ 581873758 w 771"/>
                  <a:gd name="T63" fmla="*/ 3035906 h 718"/>
                  <a:gd name="T64" fmla="*/ 605245259 w 771"/>
                  <a:gd name="T65" fmla="*/ 15177788 h 718"/>
                  <a:gd name="T66" fmla="*/ 581873758 w 771"/>
                  <a:gd name="T67" fmla="*/ 46291246 h 718"/>
                  <a:gd name="T68" fmla="*/ 585097506 w 771"/>
                  <a:gd name="T69" fmla="*/ 64504075 h 718"/>
                  <a:gd name="T70" fmla="*/ 598798660 w 771"/>
                  <a:gd name="T71" fmla="*/ 79681856 h 718"/>
                  <a:gd name="T72" fmla="*/ 608469007 w 771"/>
                  <a:gd name="T73" fmla="*/ 97894672 h 718"/>
                  <a:gd name="T74" fmla="*/ 621364000 w 771"/>
                  <a:gd name="T75" fmla="*/ 113072453 h 718"/>
                  <a:gd name="T76" fmla="*/ 608469007 w 771"/>
                  <a:gd name="T77" fmla="*/ 144186802 h 718"/>
                  <a:gd name="T78" fmla="*/ 605245259 w 771"/>
                  <a:gd name="T79" fmla="*/ 165434651 h 718"/>
                  <a:gd name="T80" fmla="*/ 605245259 w 771"/>
                  <a:gd name="T81" fmla="*/ 189719276 h 718"/>
                  <a:gd name="T82" fmla="*/ 565755914 w 771"/>
                  <a:gd name="T83" fmla="*/ 220832727 h 718"/>
                  <a:gd name="T84" fmla="*/ 562532166 w 771"/>
                  <a:gd name="T85" fmla="*/ 236010563 h 718"/>
                  <a:gd name="T86" fmla="*/ 543189677 w 771"/>
                  <a:gd name="T87" fmla="*/ 278508003 h 718"/>
                  <a:gd name="T88" fmla="*/ 514176841 w 771"/>
                  <a:gd name="T89" fmla="*/ 321763330 h 718"/>
                  <a:gd name="T90" fmla="*/ 504505596 w 771"/>
                  <a:gd name="T91" fmla="*/ 333905207 h 718"/>
                  <a:gd name="T92" fmla="*/ 494029088 w 771"/>
                  <a:gd name="T93" fmla="*/ 349082989 h 718"/>
                  <a:gd name="T94" fmla="*/ 504505596 w 771"/>
                  <a:gd name="T95" fmla="*/ 373366742 h 718"/>
                  <a:gd name="T96" fmla="*/ 494029088 w 771"/>
                  <a:gd name="T97" fmla="*/ 413587907 h 718"/>
                  <a:gd name="T98" fmla="*/ 458568643 w 771"/>
                  <a:gd name="T99" fmla="*/ 462155524 h 718"/>
                  <a:gd name="T100" fmla="*/ 419884563 w 771"/>
                  <a:gd name="T101" fmla="*/ 477333305 h 718"/>
                  <a:gd name="T102" fmla="*/ 419884563 w 771"/>
                  <a:gd name="T103" fmla="*/ 487198907 h 718"/>
                  <a:gd name="T104" fmla="*/ 436002406 w 771"/>
                  <a:gd name="T105" fmla="*/ 505411722 h 718"/>
                  <a:gd name="T106" fmla="*/ 410213318 w 771"/>
                  <a:gd name="T107" fmla="*/ 523624538 h 718"/>
                  <a:gd name="T108" fmla="*/ 393288415 w 771"/>
                  <a:gd name="T109" fmla="*/ 526660442 h 718"/>
                  <a:gd name="T110" fmla="*/ 377170572 w 771"/>
                  <a:gd name="T111" fmla="*/ 514518565 h 718"/>
                  <a:gd name="T112" fmla="*/ 348156838 w 771"/>
                  <a:gd name="T113" fmla="*/ 517553599 h 718"/>
                  <a:gd name="T114" fmla="*/ 325591499 w 771"/>
                  <a:gd name="T115" fmla="*/ 520589504 h 718"/>
                  <a:gd name="T116" fmla="*/ 260312169 w 771"/>
                  <a:gd name="T117" fmla="*/ 514518565 h 718"/>
                  <a:gd name="T118" fmla="*/ 207926878 w 771"/>
                  <a:gd name="T119" fmla="*/ 514518565 h 718"/>
                  <a:gd name="T120" fmla="*/ 191809034 w 771"/>
                  <a:gd name="T121" fmla="*/ 532731381 h 718"/>
                  <a:gd name="T122" fmla="*/ 169242797 w 771"/>
                  <a:gd name="T123" fmla="*/ 538802319 h 71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71"/>
                  <a:gd name="T187" fmla="*/ 0 h 718"/>
                  <a:gd name="T188" fmla="*/ 771 w 771"/>
                  <a:gd name="T189" fmla="*/ 718 h 71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71" h="718">
                    <a:moveTo>
                      <a:pt x="210" y="710"/>
                    </a:moveTo>
                    <a:lnTo>
                      <a:pt x="206" y="706"/>
                    </a:lnTo>
                    <a:lnTo>
                      <a:pt x="206" y="690"/>
                    </a:lnTo>
                    <a:lnTo>
                      <a:pt x="206" y="678"/>
                    </a:lnTo>
                    <a:lnTo>
                      <a:pt x="206" y="674"/>
                    </a:lnTo>
                    <a:lnTo>
                      <a:pt x="206" y="666"/>
                    </a:lnTo>
                    <a:lnTo>
                      <a:pt x="194" y="658"/>
                    </a:lnTo>
                    <a:lnTo>
                      <a:pt x="190" y="654"/>
                    </a:lnTo>
                    <a:lnTo>
                      <a:pt x="162" y="650"/>
                    </a:lnTo>
                    <a:lnTo>
                      <a:pt x="137" y="650"/>
                    </a:lnTo>
                    <a:lnTo>
                      <a:pt x="137" y="625"/>
                    </a:lnTo>
                    <a:lnTo>
                      <a:pt x="133" y="609"/>
                    </a:lnTo>
                    <a:lnTo>
                      <a:pt x="133" y="605"/>
                    </a:lnTo>
                    <a:lnTo>
                      <a:pt x="129" y="605"/>
                    </a:lnTo>
                    <a:lnTo>
                      <a:pt x="129" y="569"/>
                    </a:lnTo>
                    <a:lnTo>
                      <a:pt x="129" y="529"/>
                    </a:lnTo>
                    <a:lnTo>
                      <a:pt x="125" y="529"/>
                    </a:lnTo>
                    <a:lnTo>
                      <a:pt x="125" y="521"/>
                    </a:lnTo>
                    <a:lnTo>
                      <a:pt x="121" y="508"/>
                    </a:lnTo>
                    <a:lnTo>
                      <a:pt x="101" y="496"/>
                    </a:lnTo>
                    <a:lnTo>
                      <a:pt x="93" y="484"/>
                    </a:lnTo>
                    <a:lnTo>
                      <a:pt x="77" y="476"/>
                    </a:lnTo>
                    <a:lnTo>
                      <a:pt x="57" y="472"/>
                    </a:lnTo>
                    <a:lnTo>
                      <a:pt x="57" y="460"/>
                    </a:lnTo>
                    <a:lnTo>
                      <a:pt x="53" y="456"/>
                    </a:lnTo>
                    <a:lnTo>
                      <a:pt x="53" y="444"/>
                    </a:lnTo>
                    <a:lnTo>
                      <a:pt x="53" y="436"/>
                    </a:lnTo>
                    <a:lnTo>
                      <a:pt x="65" y="428"/>
                    </a:lnTo>
                    <a:lnTo>
                      <a:pt x="73" y="420"/>
                    </a:lnTo>
                    <a:lnTo>
                      <a:pt x="69" y="404"/>
                    </a:lnTo>
                    <a:lnTo>
                      <a:pt x="57" y="379"/>
                    </a:lnTo>
                    <a:lnTo>
                      <a:pt x="57" y="375"/>
                    </a:lnTo>
                    <a:lnTo>
                      <a:pt x="57" y="371"/>
                    </a:lnTo>
                    <a:lnTo>
                      <a:pt x="37" y="359"/>
                    </a:lnTo>
                    <a:lnTo>
                      <a:pt x="24" y="355"/>
                    </a:lnTo>
                    <a:lnTo>
                      <a:pt x="20" y="347"/>
                    </a:lnTo>
                    <a:lnTo>
                      <a:pt x="12" y="339"/>
                    </a:lnTo>
                    <a:lnTo>
                      <a:pt x="4" y="335"/>
                    </a:lnTo>
                    <a:lnTo>
                      <a:pt x="0" y="335"/>
                    </a:lnTo>
                    <a:lnTo>
                      <a:pt x="0" y="327"/>
                    </a:lnTo>
                    <a:lnTo>
                      <a:pt x="0" y="311"/>
                    </a:lnTo>
                    <a:lnTo>
                      <a:pt x="0" y="307"/>
                    </a:lnTo>
                    <a:lnTo>
                      <a:pt x="4" y="303"/>
                    </a:lnTo>
                    <a:lnTo>
                      <a:pt x="16" y="299"/>
                    </a:lnTo>
                    <a:lnTo>
                      <a:pt x="28" y="291"/>
                    </a:lnTo>
                    <a:lnTo>
                      <a:pt x="37" y="291"/>
                    </a:lnTo>
                    <a:lnTo>
                      <a:pt x="37" y="287"/>
                    </a:lnTo>
                    <a:lnTo>
                      <a:pt x="69" y="278"/>
                    </a:lnTo>
                    <a:lnTo>
                      <a:pt x="105" y="278"/>
                    </a:lnTo>
                    <a:lnTo>
                      <a:pt x="105" y="250"/>
                    </a:lnTo>
                    <a:lnTo>
                      <a:pt x="105" y="226"/>
                    </a:lnTo>
                    <a:lnTo>
                      <a:pt x="129" y="226"/>
                    </a:lnTo>
                    <a:lnTo>
                      <a:pt x="149" y="226"/>
                    </a:lnTo>
                    <a:lnTo>
                      <a:pt x="162" y="226"/>
                    </a:lnTo>
                    <a:lnTo>
                      <a:pt x="174" y="230"/>
                    </a:lnTo>
                    <a:lnTo>
                      <a:pt x="230" y="230"/>
                    </a:lnTo>
                    <a:lnTo>
                      <a:pt x="287" y="230"/>
                    </a:lnTo>
                    <a:lnTo>
                      <a:pt x="299" y="226"/>
                    </a:lnTo>
                    <a:lnTo>
                      <a:pt x="311" y="214"/>
                    </a:lnTo>
                    <a:lnTo>
                      <a:pt x="315" y="210"/>
                    </a:lnTo>
                    <a:lnTo>
                      <a:pt x="323" y="206"/>
                    </a:lnTo>
                    <a:lnTo>
                      <a:pt x="331" y="194"/>
                    </a:lnTo>
                    <a:lnTo>
                      <a:pt x="339" y="190"/>
                    </a:lnTo>
                    <a:lnTo>
                      <a:pt x="347" y="182"/>
                    </a:lnTo>
                    <a:lnTo>
                      <a:pt x="355" y="174"/>
                    </a:lnTo>
                    <a:lnTo>
                      <a:pt x="367" y="174"/>
                    </a:lnTo>
                    <a:lnTo>
                      <a:pt x="383" y="170"/>
                    </a:lnTo>
                    <a:lnTo>
                      <a:pt x="388" y="166"/>
                    </a:lnTo>
                    <a:lnTo>
                      <a:pt x="456" y="149"/>
                    </a:lnTo>
                    <a:lnTo>
                      <a:pt x="480" y="145"/>
                    </a:lnTo>
                    <a:lnTo>
                      <a:pt x="492" y="141"/>
                    </a:lnTo>
                    <a:lnTo>
                      <a:pt x="496" y="137"/>
                    </a:lnTo>
                    <a:lnTo>
                      <a:pt x="517" y="121"/>
                    </a:lnTo>
                    <a:lnTo>
                      <a:pt x="525" y="105"/>
                    </a:lnTo>
                    <a:lnTo>
                      <a:pt x="529" y="105"/>
                    </a:lnTo>
                    <a:lnTo>
                      <a:pt x="533" y="101"/>
                    </a:lnTo>
                    <a:lnTo>
                      <a:pt x="541" y="101"/>
                    </a:lnTo>
                    <a:lnTo>
                      <a:pt x="549" y="101"/>
                    </a:lnTo>
                    <a:lnTo>
                      <a:pt x="561" y="109"/>
                    </a:lnTo>
                    <a:lnTo>
                      <a:pt x="577" y="121"/>
                    </a:lnTo>
                    <a:lnTo>
                      <a:pt x="585" y="121"/>
                    </a:lnTo>
                    <a:lnTo>
                      <a:pt x="597" y="121"/>
                    </a:lnTo>
                    <a:lnTo>
                      <a:pt x="609" y="117"/>
                    </a:lnTo>
                    <a:lnTo>
                      <a:pt x="621" y="105"/>
                    </a:lnTo>
                    <a:lnTo>
                      <a:pt x="630" y="97"/>
                    </a:lnTo>
                    <a:lnTo>
                      <a:pt x="638" y="85"/>
                    </a:lnTo>
                    <a:lnTo>
                      <a:pt x="650" y="73"/>
                    </a:lnTo>
                    <a:lnTo>
                      <a:pt x="658" y="53"/>
                    </a:lnTo>
                    <a:lnTo>
                      <a:pt x="662" y="49"/>
                    </a:lnTo>
                    <a:lnTo>
                      <a:pt x="662" y="40"/>
                    </a:lnTo>
                    <a:lnTo>
                      <a:pt x="666" y="32"/>
                    </a:lnTo>
                    <a:lnTo>
                      <a:pt x="682" y="20"/>
                    </a:lnTo>
                    <a:lnTo>
                      <a:pt x="702" y="0"/>
                    </a:lnTo>
                    <a:lnTo>
                      <a:pt x="710" y="0"/>
                    </a:lnTo>
                    <a:lnTo>
                      <a:pt x="718" y="0"/>
                    </a:lnTo>
                    <a:lnTo>
                      <a:pt x="722" y="4"/>
                    </a:lnTo>
                    <a:lnTo>
                      <a:pt x="738" y="4"/>
                    </a:lnTo>
                    <a:lnTo>
                      <a:pt x="751" y="8"/>
                    </a:lnTo>
                    <a:lnTo>
                      <a:pt x="751" y="20"/>
                    </a:lnTo>
                    <a:lnTo>
                      <a:pt x="751" y="32"/>
                    </a:lnTo>
                    <a:lnTo>
                      <a:pt x="734" y="49"/>
                    </a:lnTo>
                    <a:lnTo>
                      <a:pt x="722" y="61"/>
                    </a:lnTo>
                    <a:lnTo>
                      <a:pt x="722" y="73"/>
                    </a:lnTo>
                    <a:lnTo>
                      <a:pt x="722" y="77"/>
                    </a:lnTo>
                    <a:lnTo>
                      <a:pt x="726" y="85"/>
                    </a:lnTo>
                    <a:lnTo>
                      <a:pt x="734" y="97"/>
                    </a:lnTo>
                    <a:lnTo>
                      <a:pt x="738" y="101"/>
                    </a:lnTo>
                    <a:lnTo>
                      <a:pt x="743" y="105"/>
                    </a:lnTo>
                    <a:lnTo>
                      <a:pt x="743" y="109"/>
                    </a:lnTo>
                    <a:lnTo>
                      <a:pt x="751" y="117"/>
                    </a:lnTo>
                    <a:lnTo>
                      <a:pt x="755" y="129"/>
                    </a:lnTo>
                    <a:lnTo>
                      <a:pt x="767" y="137"/>
                    </a:lnTo>
                    <a:lnTo>
                      <a:pt x="771" y="145"/>
                    </a:lnTo>
                    <a:lnTo>
                      <a:pt x="771" y="149"/>
                    </a:lnTo>
                    <a:lnTo>
                      <a:pt x="767" y="166"/>
                    </a:lnTo>
                    <a:lnTo>
                      <a:pt x="755" y="182"/>
                    </a:lnTo>
                    <a:lnTo>
                      <a:pt x="755" y="190"/>
                    </a:lnTo>
                    <a:lnTo>
                      <a:pt x="751" y="190"/>
                    </a:lnTo>
                    <a:lnTo>
                      <a:pt x="751" y="206"/>
                    </a:lnTo>
                    <a:lnTo>
                      <a:pt x="751" y="218"/>
                    </a:lnTo>
                    <a:lnTo>
                      <a:pt x="751" y="226"/>
                    </a:lnTo>
                    <a:lnTo>
                      <a:pt x="751" y="242"/>
                    </a:lnTo>
                    <a:lnTo>
                      <a:pt x="751" y="250"/>
                    </a:lnTo>
                    <a:lnTo>
                      <a:pt x="751" y="262"/>
                    </a:lnTo>
                    <a:lnTo>
                      <a:pt x="718" y="278"/>
                    </a:lnTo>
                    <a:lnTo>
                      <a:pt x="702" y="291"/>
                    </a:lnTo>
                    <a:lnTo>
                      <a:pt x="702" y="299"/>
                    </a:lnTo>
                    <a:lnTo>
                      <a:pt x="698" y="307"/>
                    </a:lnTo>
                    <a:lnTo>
                      <a:pt x="698" y="311"/>
                    </a:lnTo>
                    <a:lnTo>
                      <a:pt x="690" y="315"/>
                    </a:lnTo>
                    <a:lnTo>
                      <a:pt x="682" y="339"/>
                    </a:lnTo>
                    <a:lnTo>
                      <a:pt x="674" y="367"/>
                    </a:lnTo>
                    <a:lnTo>
                      <a:pt x="658" y="391"/>
                    </a:lnTo>
                    <a:lnTo>
                      <a:pt x="638" y="416"/>
                    </a:lnTo>
                    <a:lnTo>
                      <a:pt x="638" y="424"/>
                    </a:lnTo>
                    <a:lnTo>
                      <a:pt x="634" y="432"/>
                    </a:lnTo>
                    <a:lnTo>
                      <a:pt x="630" y="436"/>
                    </a:lnTo>
                    <a:lnTo>
                      <a:pt x="626" y="440"/>
                    </a:lnTo>
                    <a:lnTo>
                      <a:pt x="621" y="444"/>
                    </a:lnTo>
                    <a:lnTo>
                      <a:pt x="613" y="448"/>
                    </a:lnTo>
                    <a:lnTo>
                      <a:pt x="613" y="460"/>
                    </a:lnTo>
                    <a:lnTo>
                      <a:pt x="613" y="480"/>
                    </a:lnTo>
                    <a:lnTo>
                      <a:pt x="621" y="484"/>
                    </a:lnTo>
                    <a:lnTo>
                      <a:pt x="626" y="492"/>
                    </a:lnTo>
                    <a:lnTo>
                      <a:pt x="626" y="508"/>
                    </a:lnTo>
                    <a:lnTo>
                      <a:pt x="626" y="529"/>
                    </a:lnTo>
                    <a:lnTo>
                      <a:pt x="613" y="545"/>
                    </a:lnTo>
                    <a:lnTo>
                      <a:pt x="605" y="569"/>
                    </a:lnTo>
                    <a:lnTo>
                      <a:pt x="585" y="593"/>
                    </a:lnTo>
                    <a:lnTo>
                      <a:pt x="569" y="609"/>
                    </a:lnTo>
                    <a:lnTo>
                      <a:pt x="549" y="609"/>
                    </a:lnTo>
                    <a:lnTo>
                      <a:pt x="529" y="605"/>
                    </a:lnTo>
                    <a:lnTo>
                      <a:pt x="521" y="629"/>
                    </a:lnTo>
                    <a:lnTo>
                      <a:pt x="517" y="634"/>
                    </a:lnTo>
                    <a:lnTo>
                      <a:pt x="517" y="638"/>
                    </a:lnTo>
                    <a:lnTo>
                      <a:pt x="521" y="642"/>
                    </a:lnTo>
                    <a:lnTo>
                      <a:pt x="529" y="646"/>
                    </a:lnTo>
                    <a:lnTo>
                      <a:pt x="541" y="654"/>
                    </a:lnTo>
                    <a:lnTo>
                      <a:pt x="541" y="666"/>
                    </a:lnTo>
                    <a:lnTo>
                      <a:pt x="541" y="678"/>
                    </a:lnTo>
                    <a:lnTo>
                      <a:pt x="517" y="686"/>
                    </a:lnTo>
                    <a:lnTo>
                      <a:pt x="509" y="690"/>
                    </a:lnTo>
                    <a:lnTo>
                      <a:pt x="504" y="694"/>
                    </a:lnTo>
                    <a:lnTo>
                      <a:pt x="492" y="694"/>
                    </a:lnTo>
                    <a:lnTo>
                      <a:pt x="488" y="694"/>
                    </a:lnTo>
                    <a:lnTo>
                      <a:pt x="480" y="690"/>
                    </a:lnTo>
                    <a:lnTo>
                      <a:pt x="476" y="682"/>
                    </a:lnTo>
                    <a:lnTo>
                      <a:pt x="468" y="678"/>
                    </a:lnTo>
                    <a:lnTo>
                      <a:pt x="460" y="678"/>
                    </a:lnTo>
                    <a:lnTo>
                      <a:pt x="444" y="678"/>
                    </a:lnTo>
                    <a:lnTo>
                      <a:pt x="432" y="682"/>
                    </a:lnTo>
                    <a:lnTo>
                      <a:pt x="416" y="686"/>
                    </a:lnTo>
                    <a:lnTo>
                      <a:pt x="408" y="686"/>
                    </a:lnTo>
                    <a:lnTo>
                      <a:pt x="404" y="686"/>
                    </a:lnTo>
                    <a:lnTo>
                      <a:pt x="388" y="686"/>
                    </a:lnTo>
                    <a:lnTo>
                      <a:pt x="375" y="682"/>
                    </a:lnTo>
                    <a:lnTo>
                      <a:pt x="323" y="678"/>
                    </a:lnTo>
                    <a:lnTo>
                      <a:pt x="266" y="674"/>
                    </a:lnTo>
                    <a:lnTo>
                      <a:pt x="262" y="674"/>
                    </a:lnTo>
                    <a:lnTo>
                      <a:pt x="258" y="678"/>
                    </a:lnTo>
                    <a:lnTo>
                      <a:pt x="250" y="682"/>
                    </a:lnTo>
                    <a:lnTo>
                      <a:pt x="250" y="694"/>
                    </a:lnTo>
                    <a:lnTo>
                      <a:pt x="238" y="702"/>
                    </a:lnTo>
                    <a:lnTo>
                      <a:pt x="230" y="718"/>
                    </a:lnTo>
                    <a:lnTo>
                      <a:pt x="218" y="710"/>
                    </a:lnTo>
                    <a:lnTo>
                      <a:pt x="210" y="71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18" name="Freeform 26"/>
              <p:cNvSpPr>
                <a:spLocks/>
              </p:cNvSpPr>
              <p:nvPr/>
            </p:nvSpPr>
            <p:spPr bwMode="auto">
              <a:xfrm>
                <a:off x="5053099" y="4629172"/>
                <a:ext cx="1098551" cy="865823"/>
              </a:xfrm>
              <a:custGeom>
                <a:avLst/>
                <a:gdLst>
                  <a:gd name="T0" fmla="*/ 655417187 w 1222"/>
                  <a:gd name="T1" fmla="*/ 721084341 h 972"/>
                  <a:gd name="T2" fmla="*/ 602887280 w 1222"/>
                  <a:gd name="T3" fmla="*/ 671642450 h 972"/>
                  <a:gd name="T4" fmla="*/ 589956399 w 1222"/>
                  <a:gd name="T5" fmla="*/ 641216805 h 972"/>
                  <a:gd name="T6" fmla="*/ 567328256 w 1222"/>
                  <a:gd name="T7" fmla="*/ 610030650 h 972"/>
                  <a:gd name="T8" fmla="*/ 522071071 w 1222"/>
                  <a:gd name="T9" fmla="*/ 579605877 h 972"/>
                  <a:gd name="T10" fmla="*/ 501867468 w 1222"/>
                  <a:gd name="T11" fmla="*/ 662514582 h 972"/>
                  <a:gd name="T12" fmla="*/ 437214747 w 1222"/>
                  <a:gd name="T13" fmla="*/ 662514582 h 972"/>
                  <a:gd name="T14" fmla="*/ 384683941 w 1222"/>
                  <a:gd name="T15" fmla="*/ 659472541 h 972"/>
                  <a:gd name="T16" fmla="*/ 374985780 w 1222"/>
                  <a:gd name="T17" fmla="*/ 540052364 h 972"/>
                  <a:gd name="T18" fmla="*/ 339426755 w 1222"/>
                  <a:gd name="T19" fmla="*/ 561350141 h 972"/>
                  <a:gd name="T20" fmla="*/ 257803264 w 1222"/>
                  <a:gd name="T21" fmla="*/ 597860741 h 972"/>
                  <a:gd name="T22" fmla="*/ 195574241 w 1222"/>
                  <a:gd name="T23" fmla="*/ 591775786 h 972"/>
                  <a:gd name="T24" fmla="*/ 143852514 w 1222"/>
                  <a:gd name="T25" fmla="*/ 549180232 h 972"/>
                  <a:gd name="T26" fmla="*/ 78391698 w 1222"/>
                  <a:gd name="T27" fmla="*/ 573520050 h 972"/>
                  <a:gd name="T28" fmla="*/ 42832659 w 1222"/>
                  <a:gd name="T29" fmla="*/ 546137319 h 972"/>
                  <a:gd name="T30" fmla="*/ 0 w 1222"/>
                  <a:gd name="T31" fmla="*/ 484525518 h 972"/>
                  <a:gd name="T32" fmla="*/ 22628150 w 1222"/>
                  <a:gd name="T33" fmla="*/ 457142678 h 972"/>
                  <a:gd name="T34" fmla="*/ 78391698 w 1222"/>
                  <a:gd name="T35" fmla="*/ 416829527 h 972"/>
                  <a:gd name="T36" fmla="*/ 65460816 w 1222"/>
                  <a:gd name="T37" fmla="*/ 355978237 h 972"/>
                  <a:gd name="T38" fmla="*/ 29093591 w 1222"/>
                  <a:gd name="T39" fmla="*/ 333919949 h 972"/>
                  <a:gd name="T40" fmla="*/ 3232721 w 1222"/>
                  <a:gd name="T41" fmla="*/ 303494304 h 972"/>
                  <a:gd name="T42" fmla="*/ 3232721 w 1222"/>
                  <a:gd name="T43" fmla="*/ 276111573 h 972"/>
                  <a:gd name="T44" fmla="*/ 65460816 w 1222"/>
                  <a:gd name="T45" fmla="*/ 247967459 h 972"/>
                  <a:gd name="T46" fmla="*/ 120416191 w 1222"/>
                  <a:gd name="T47" fmla="*/ 226669627 h 972"/>
                  <a:gd name="T48" fmla="*/ 198806962 w 1222"/>
                  <a:gd name="T49" fmla="*/ 193201941 h 972"/>
                  <a:gd name="T50" fmla="*/ 221436004 w 1222"/>
                  <a:gd name="T51" fmla="*/ 165057827 h 972"/>
                  <a:gd name="T52" fmla="*/ 238406943 w 1222"/>
                  <a:gd name="T53" fmla="*/ 116377318 h 972"/>
                  <a:gd name="T54" fmla="*/ 264267806 w 1222"/>
                  <a:gd name="T55" fmla="*/ 88994559 h 972"/>
                  <a:gd name="T56" fmla="*/ 323264053 w 1222"/>
                  <a:gd name="T57" fmla="*/ 104207382 h 972"/>
                  <a:gd name="T58" fmla="*/ 362055798 w 1222"/>
                  <a:gd name="T59" fmla="*/ 76064140 h 972"/>
                  <a:gd name="T60" fmla="*/ 358823077 w 1222"/>
                  <a:gd name="T61" fmla="*/ 18254871 h 972"/>
                  <a:gd name="T62" fmla="*/ 427516586 w 1222"/>
                  <a:gd name="T63" fmla="*/ 0 h 972"/>
                  <a:gd name="T64" fmla="*/ 498634747 w 1222"/>
                  <a:gd name="T65" fmla="*/ 76064140 h 972"/>
                  <a:gd name="T66" fmla="*/ 528536511 w 1222"/>
                  <a:gd name="T67" fmla="*/ 134633054 h 972"/>
                  <a:gd name="T68" fmla="*/ 541467392 w 1222"/>
                  <a:gd name="T69" fmla="*/ 184074073 h 972"/>
                  <a:gd name="T70" fmla="*/ 577026417 w 1222"/>
                  <a:gd name="T71" fmla="*/ 208414763 h 972"/>
                  <a:gd name="T72" fmla="*/ 616625443 w 1222"/>
                  <a:gd name="T73" fmla="*/ 202329809 h 972"/>
                  <a:gd name="T74" fmla="*/ 648952646 w 1222"/>
                  <a:gd name="T75" fmla="*/ 193201941 h 972"/>
                  <a:gd name="T76" fmla="*/ 724110696 w 1222"/>
                  <a:gd name="T77" fmla="*/ 220584672 h 972"/>
                  <a:gd name="T78" fmla="*/ 791996025 w 1222"/>
                  <a:gd name="T79" fmla="*/ 238840463 h 972"/>
                  <a:gd name="T80" fmla="*/ 863923153 w 1222"/>
                  <a:gd name="T81" fmla="*/ 238840463 h 972"/>
                  <a:gd name="T82" fmla="*/ 958477750 w 1222"/>
                  <a:gd name="T83" fmla="*/ 241882504 h 972"/>
                  <a:gd name="T84" fmla="*/ 958477750 w 1222"/>
                  <a:gd name="T85" fmla="*/ 294366436 h 972"/>
                  <a:gd name="T86" fmla="*/ 929383941 w 1222"/>
                  <a:gd name="T87" fmla="*/ 352935323 h 972"/>
                  <a:gd name="T88" fmla="*/ 909987619 w 1222"/>
                  <a:gd name="T89" fmla="*/ 395531749 h 972"/>
                  <a:gd name="T90" fmla="*/ 935848483 w 1222"/>
                  <a:gd name="T91" fmla="*/ 422914481 h 972"/>
                  <a:gd name="T92" fmla="*/ 922918500 w 1222"/>
                  <a:gd name="T93" fmla="*/ 475398522 h 972"/>
                  <a:gd name="T94" fmla="*/ 897057637 w 1222"/>
                  <a:gd name="T95" fmla="*/ 496696300 h 972"/>
                  <a:gd name="T96" fmla="*/ 876853135 w 1222"/>
                  <a:gd name="T97" fmla="*/ 549180232 h 972"/>
                  <a:gd name="T98" fmla="*/ 834828670 w 1222"/>
                  <a:gd name="T99" fmla="*/ 603945695 h 972"/>
                  <a:gd name="T100" fmla="*/ 802502366 w 1222"/>
                  <a:gd name="T101" fmla="*/ 674685363 h 972"/>
                  <a:gd name="T102" fmla="*/ 753205179 w 1222"/>
                  <a:gd name="T103" fmla="*/ 739339205 h 9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222"/>
                  <a:gd name="T157" fmla="*/ 0 h 972"/>
                  <a:gd name="T158" fmla="*/ 1222 w 1222"/>
                  <a:gd name="T159" fmla="*/ 972 h 97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222" h="972">
                    <a:moveTo>
                      <a:pt x="928" y="968"/>
                    </a:moveTo>
                    <a:lnTo>
                      <a:pt x="912" y="964"/>
                    </a:lnTo>
                    <a:lnTo>
                      <a:pt x="851" y="960"/>
                    </a:lnTo>
                    <a:lnTo>
                      <a:pt x="831" y="956"/>
                    </a:lnTo>
                    <a:lnTo>
                      <a:pt x="811" y="948"/>
                    </a:lnTo>
                    <a:lnTo>
                      <a:pt x="799" y="944"/>
                    </a:lnTo>
                    <a:lnTo>
                      <a:pt x="783" y="928"/>
                    </a:lnTo>
                    <a:lnTo>
                      <a:pt x="767" y="911"/>
                    </a:lnTo>
                    <a:lnTo>
                      <a:pt x="750" y="887"/>
                    </a:lnTo>
                    <a:lnTo>
                      <a:pt x="746" y="883"/>
                    </a:lnTo>
                    <a:lnTo>
                      <a:pt x="746" y="875"/>
                    </a:lnTo>
                    <a:lnTo>
                      <a:pt x="742" y="871"/>
                    </a:lnTo>
                    <a:lnTo>
                      <a:pt x="734" y="867"/>
                    </a:lnTo>
                    <a:lnTo>
                      <a:pt x="730" y="855"/>
                    </a:lnTo>
                    <a:lnTo>
                      <a:pt x="730" y="843"/>
                    </a:lnTo>
                    <a:lnTo>
                      <a:pt x="722" y="843"/>
                    </a:lnTo>
                    <a:lnTo>
                      <a:pt x="718" y="839"/>
                    </a:lnTo>
                    <a:lnTo>
                      <a:pt x="714" y="831"/>
                    </a:lnTo>
                    <a:lnTo>
                      <a:pt x="714" y="823"/>
                    </a:lnTo>
                    <a:lnTo>
                      <a:pt x="702" y="802"/>
                    </a:lnTo>
                    <a:lnTo>
                      <a:pt x="698" y="794"/>
                    </a:lnTo>
                    <a:lnTo>
                      <a:pt x="674" y="778"/>
                    </a:lnTo>
                    <a:lnTo>
                      <a:pt x="662" y="762"/>
                    </a:lnTo>
                    <a:lnTo>
                      <a:pt x="650" y="762"/>
                    </a:lnTo>
                    <a:lnTo>
                      <a:pt x="646" y="762"/>
                    </a:lnTo>
                    <a:lnTo>
                      <a:pt x="642" y="766"/>
                    </a:lnTo>
                    <a:lnTo>
                      <a:pt x="638" y="778"/>
                    </a:lnTo>
                    <a:lnTo>
                      <a:pt x="638" y="823"/>
                    </a:lnTo>
                    <a:lnTo>
                      <a:pt x="638" y="867"/>
                    </a:lnTo>
                    <a:lnTo>
                      <a:pt x="621" y="871"/>
                    </a:lnTo>
                    <a:lnTo>
                      <a:pt x="613" y="879"/>
                    </a:lnTo>
                    <a:lnTo>
                      <a:pt x="605" y="875"/>
                    </a:lnTo>
                    <a:lnTo>
                      <a:pt x="593" y="867"/>
                    </a:lnTo>
                    <a:lnTo>
                      <a:pt x="569" y="871"/>
                    </a:lnTo>
                    <a:lnTo>
                      <a:pt x="541" y="871"/>
                    </a:lnTo>
                    <a:lnTo>
                      <a:pt x="537" y="875"/>
                    </a:lnTo>
                    <a:lnTo>
                      <a:pt x="533" y="875"/>
                    </a:lnTo>
                    <a:lnTo>
                      <a:pt x="517" y="875"/>
                    </a:lnTo>
                    <a:lnTo>
                      <a:pt x="480" y="871"/>
                    </a:lnTo>
                    <a:lnTo>
                      <a:pt x="476" y="867"/>
                    </a:lnTo>
                    <a:lnTo>
                      <a:pt x="476" y="847"/>
                    </a:lnTo>
                    <a:lnTo>
                      <a:pt x="476" y="798"/>
                    </a:lnTo>
                    <a:lnTo>
                      <a:pt x="480" y="710"/>
                    </a:lnTo>
                    <a:lnTo>
                      <a:pt x="472" y="710"/>
                    </a:lnTo>
                    <a:lnTo>
                      <a:pt x="464" y="710"/>
                    </a:lnTo>
                    <a:lnTo>
                      <a:pt x="448" y="718"/>
                    </a:lnTo>
                    <a:lnTo>
                      <a:pt x="440" y="726"/>
                    </a:lnTo>
                    <a:lnTo>
                      <a:pt x="436" y="730"/>
                    </a:lnTo>
                    <a:lnTo>
                      <a:pt x="428" y="738"/>
                    </a:lnTo>
                    <a:lnTo>
                      <a:pt x="420" y="738"/>
                    </a:lnTo>
                    <a:lnTo>
                      <a:pt x="408" y="742"/>
                    </a:lnTo>
                    <a:lnTo>
                      <a:pt x="395" y="754"/>
                    </a:lnTo>
                    <a:lnTo>
                      <a:pt x="387" y="758"/>
                    </a:lnTo>
                    <a:lnTo>
                      <a:pt x="327" y="778"/>
                    </a:lnTo>
                    <a:lnTo>
                      <a:pt x="319" y="786"/>
                    </a:lnTo>
                    <a:lnTo>
                      <a:pt x="295" y="786"/>
                    </a:lnTo>
                    <a:lnTo>
                      <a:pt x="274" y="786"/>
                    </a:lnTo>
                    <a:lnTo>
                      <a:pt x="266" y="786"/>
                    </a:lnTo>
                    <a:lnTo>
                      <a:pt x="258" y="778"/>
                    </a:lnTo>
                    <a:lnTo>
                      <a:pt x="242" y="778"/>
                    </a:lnTo>
                    <a:lnTo>
                      <a:pt x="226" y="774"/>
                    </a:lnTo>
                    <a:lnTo>
                      <a:pt x="222" y="766"/>
                    </a:lnTo>
                    <a:lnTo>
                      <a:pt x="214" y="762"/>
                    </a:lnTo>
                    <a:lnTo>
                      <a:pt x="198" y="742"/>
                    </a:lnTo>
                    <a:lnTo>
                      <a:pt x="178" y="722"/>
                    </a:lnTo>
                    <a:lnTo>
                      <a:pt x="149" y="726"/>
                    </a:lnTo>
                    <a:lnTo>
                      <a:pt x="129" y="738"/>
                    </a:lnTo>
                    <a:lnTo>
                      <a:pt x="113" y="742"/>
                    </a:lnTo>
                    <a:lnTo>
                      <a:pt x="97" y="754"/>
                    </a:lnTo>
                    <a:lnTo>
                      <a:pt x="89" y="754"/>
                    </a:lnTo>
                    <a:lnTo>
                      <a:pt x="81" y="742"/>
                    </a:lnTo>
                    <a:lnTo>
                      <a:pt x="57" y="722"/>
                    </a:lnTo>
                    <a:lnTo>
                      <a:pt x="53" y="718"/>
                    </a:lnTo>
                    <a:lnTo>
                      <a:pt x="49" y="714"/>
                    </a:lnTo>
                    <a:lnTo>
                      <a:pt x="36" y="702"/>
                    </a:lnTo>
                    <a:lnTo>
                      <a:pt x="28" y="694"/>
                    </a:lnTo>
                    <a:lnTo>
                      <a:pt x="16" y="665"/>
                    </a:lnTo>
                    <a:lnTo>
                      <a:pt x="0" y="637"/>
                    </a:lnTo>
                    <a:lnTo>
                      <a:pt x="0" y="621"/>
                    </a:lnTo>
                    <a:lnTo>
                      <a:pt x="0" y="617"/>
                    </a:lnTo>
                    <a:lnTo>
                      <a:pt x="12" y="617"/>
                    </a:lnTo>
                    <a:lnTo>
                      <a:pt x="24" y="617"/>
                    </a:lnTo>
                    <a:lnTo>
                      <a:pt x="28" y="601"/>
                    </a:lnTo>
                    <a:lnTo>
                      <a:pt x="45" y="593"/>
                    </a:lnTo>
                    <a:lnTo>
                      <a:pt x="53" y="593"/>
                    </a:lnTo>
                    <a:lnTo>
                      <a:pt x="61" y="589"/>
                    </a:lnTo>
                    <a:lnTo>
                      <a:pt x="81" y="572"/>
                    </a:lnTo>
                    <a:lnTo>
                      <a:pt x="97" y="548"/>
                    </a:lnTo>
                    <a:lnTo>
                      <a:pt x="97" y="524"/>
                    </a:lnTo>
                    <a:lnTo>
                      <a:pt x="97" y="516"/>
                    </a:lnTo>
                    <a:lnTo>
                      <a:pt x="89" y="512"/>
                    </a:lnTo>
                    <a:lnTo>
                      <a:pt x="85" y="488"/>
                    </a:lnTo>
                    <a:lnTo>
                      <a:pt x="81" y="468"/>
                    </a:lnTo>
                    <a:lnTo>
                      <a:pt x="77" y="464"/>
                    </a:lnTo>
                    <a:lnTo>
                      <a:pt x="77" y="451"/>
                    </a:lnTo>
                    <a:lnTo>
                      <a:pt x="73" y="439"/>
                    </a:lnTo>
                    <a:lnTo>
                      <a:pt x="57" y="439"/>
                    </a:lnTo>
                    <a:lnTo>
                      <a:pt x="36" y="439"/>
                    </a:lnTo>
                    <a:lnTo>
                      <a:pt x="28" y="431"/>
                    </a:lnTo>
                    <a:lnTo>
                      <a:pt x="20" y="423"/>
                    </a:lnTo>
                    <a:lnTo>
                      <a:pt x="16" y="415"/>
                    </a:lnTo>
                    <a:lnTo>
                      <a:pt x="12" y="399"/>
                    </a:lnTo>
                    <a:lnTo>
                      <a:pt x="4" y="399"/>
                    </a:lnTo>
                    <a:lnTo>
                      <a:pt x="0" y="395"/>
                    </a:lnTo>
                    <a:lnTo>
                      <a:pt x="0" y="383"/>
                    </a:lnTo>
                    <a:lnTo>
                      <a:pt x="0" y="367"/>
                    </a:lnTo>
                    <a:lnTo>
                      <a:pt x="4" y="363"/>
                    </a:lnTo>
                    <a:lnTo>
                      <a:pt x="24" y="367"/>
                    </a:lnTo>
                    <a:lnTo>
                      <a:pt x="49" y="367"/>
                    </a:lnTo>
                    <a:lnTo>
                      <a:pt x="57" y="363"/>
                    </a:lnTo>
                    <a:lnTo>
                      <a:pt x="61" y="351"/>
                    </a:lnTo>
                    <a:lnTo>
                      <a:pt x="81" y="326"/>
                    </a:lnTo>
                    <a:lnTo>
                      <a:pt x="85" y="314"/>
                    </a:lnTo>
                    <a:lnTo>
                      <a:pt x="101" y="314"/>
                    </a:lnTo>
                    <a:lnTo>
                      <a:pt x="117" y="310"/>
                    </a:lnTo>
                    <a:lnTo>
                      <a:pt x="133" y="306"/>
                    </a:lnTo>
                    <a:lnTo>
                      <a:pt x="149" y="298"/>
                    </a:lnTo>
                    <a:lnTo>
                      <a:pt x="166" y="278"/>
                    </a:lnTo>
                    <a:lnTo>
                      <a:pt x="178" y="262"/>
                    </a:lnTo>
                    <a:lnTo>
                      <a:pt x="206" y="262"/>
                    </a:lnTo>
                    <a:lnTo>
                      <a:pt x="242" y="254"/>
                    </a:lnTo>
                    <a:lnTo>
                      <a:pt x="246" y="254"/>
                    </a:lnTo>
                    <a:lnTo>
                      <a:pt x="258" y="242"/>
                    </a:lnTo>
                    <a:lnTo>
                      <a:pt x="266" y="234"/>
                    </a:lnTo>
                    <a:lnTo>
                      <a:pt x="270" y="221"/>
                    </a:lnTo>
                    <a:lnTo>
                      <a:pt x="270" y="217"/>
                    </a:lnTo>
                    <a:lnTo>
                      <a:pt x="274" y="217"/>
                    </a:lnTo>
                    <a:lnTo>
                      <a:pt x="278" y="201"/>
                    </a:lnTo>
                    <a:lnTo>
                      <a:pt x="278" y="193"/>
                    </a:lnTo>
                    <a:lnTo>
                      <a:pt x="287" y="185"/>
                    </a:lnTo>
                    <a:lnTo>
                      <a:pt x="295" y="177"/>
                    </a:lnTo>
                    <a:lnTo>
                      <a:pt x="295" y="153"/>
                    </a:lnTo>
                    <a:lnTo>
                      <a:pt x="295" y="137"/>
                    </a:lnTo>
                    <a:lnTo>
                      <a:pt x="303" y="133"/>
                    </a:lnTo>
                    <a:lnTo>
                      <a:pt x="307" y="125"/>
                    </a:lnTo>
                    <a:lnTo>
                      <a:pt x="311" y="121"/>
                    </a:lnTo>
                    <a:lnTo>
                      <a:pt x="327" y="117"/>
                    </a:lnTo>
                    <a:lnTo>
                      <a:pt x="343" y="117"/>
                    </a:lnTo>
                    <a:lnTo>
                      <a:pt x="355" y="121"/>
                    </a:lnTo>
                    <a:lnTo>
                      <a:pt x="363" y="129"/>
                    </a:lnTo>
                    <a:lnTo>
                      <a:pt x="387" y="137"/>
                    </a:lnTo>
                    <a:lnTo>
                      <a:pt x="400" y="137"/>
                    </a:lnTo>
                    <a:lnTo>
                      <a:pt x="420" y="137"/>
                    </a:lnTo>
                    <a:lnTo>
                      <a:pt x="424" y="133"/>
                    </a:lnTo>
                    <a:lnTo>
                      <a:pt x="436" y="129"/>
                    </a:lnTo>
                    <a:lnTo>
                      <a:pt x="444" y="117"/>
                    </a:lnTo>
                    <a:lnTo>
                      <a:pt x="448" y="100"/>
                    </a:lnTo>
                    <a:lnTo>
                      <a:pt x="444" y="84"/>
                    </a:lnTo>
                    <a:lnTo>
                      <a:pt x="440" y="68"/>
                    </a:lnTo>
                    <a:lnTo>
                      <a:pt x="440" y="56"/>
                    </a:lnTo>
                    <a:lnTo>
                      <a:pt x="440" y="44"/>
                    </a:lnTo>
                    <a:lnTo>
                      <a:pt x="444" y="24"/>
                    </a:lnTo>
                    <a:lnTo>
                      <a:pt x="448" y="8"/>
                    </a:lnTo>
                    <a:lnTo>
                      <a:pt x="464" y="8"/>
                    </a:lnTo>
                    <a:lnTo>
                      <a:pt x="476" y="0"/>
                    </a:lnTo>
                    <a:lnTo>
                      <a:pt x="500" y="0"/>
                    </a:lnTo>
                    <a:lnTo>
                      <a:pt x="529" y="0"/>
                    </a:lnTo>
                    <a:lnTo>
                      <a:pt x="581" y="20"/>
                    </a:lnTo>
                    <a:lnTo>
                      <a:pt x="601" y="28"/>
                    </a:lnTo>
                    <a:lnTo>
                      <a:pt x="609" y="60"/>
                    </a:lnTo>
                    <a:lnTo>
                      <a:pt x="613" y="92"/>
                    </a:lnTo>
                    <a:lnTo>
                      <a:pt x="617" y="100"/>
                    </a:lnTo>
                    <a:lnTo>
                      <a:pt x="629" y="149"/>
                    </a:lnTo>
                    <a:lnTo>
                      <a:pt x="638" y="153"/>
                    </a:lnTo>
                    <a:lnTo>
                      <a:pt x="646" y="165"/>
                    </a:lnTo>
                    <a:lnTo>
                      <a:pt x="650" y="169"/>
                    </a:lnTo>
                    <a:lnTo>
                      <a:pt x="654" y="177"/>
                    </a:lnTo>
                    <a:lnTo>
                      <a:pt x="654" y="193"/>
                    </a:lnTo>
                    <a:lnTo>
                      <a:pt x="654" y="217"/>
                    </a:lnTo>
                    <a:lnTo>
                      <a:pt x="662" y="226"/>
                    </a:lnTo>
                    <a:lnTo>
                      <a:pt x="670" y="230"/>
                    </a:lnTo>
                    <a:lnTo>
                      <a:pt x="670" y="242"/>
                    </a:lnTo>
                    <a:lnTo>
                      <a:pt x="674" y="254"/>
                    </a:lnTo>
                    <a:lnTo>
                      <a:pt x="686" y="262"/>
                    </a:lnTo>
                    <a:lnTo>
                      <a:pt x="690" y="270"/>
                    </a:lnTo>
                    <a:lnTo>
                      <a:pt x="698" y="270"/>
                    </a:lnTo>
                    <a:lnTo>
                      <a:pt x="714" y="274"/>
                    </a:lnTo>
                    <a:lnTo>
                      <a:pt x="718" y="274"/>
                    </a:lnTo>
                    <a:lnTo>
                      <a:pt x="726" y="274"/>
                    </a:lnTo>
                    <a:lnTo>
                      <a:pt x="742" y="270"/>
                    </a:lnTo>
                    <a:lnTo>
                      <a:pt x="750" y="270"/>
                    </a:lnTo>
                    <a:lnTo>
                      <a:pt x="763" y="266"/>
                    </a:lnTo>
                    <a:lnTo>
                      <a:pt x="767" y="262"/>
                    </a:lnTo>
                    <a:lnTo>
                      <a:pt x="775" y="254"/>
                    </a:lnTo>
                    <a:lnTo>
                      <a:pt x="783" y="254"/>
                    </a:lnTo>
                    <a:lnTo>
                      <a:pt x="803" y="254"/>
                    </a:lnTo>
                    <a:lnTo>
                      <a:pt x="815" y="250"/>
                    </a:lnTo>
                    <a:lnTo>
                      <a:pt x="835" y="266"/>
                    </a:lnTo>
                    <a:lnTo>
                      <a:pt x="851" y="286"/>
                    </a:lnTo>
                    <a:lnTo>
                      <a:pt x="876" y="286"/>
                    </a:lnTo>
                    <a:lnTo>
                      <a:pt x="896" y="290"/>
                    </a:lnTo>
                    <a:lnTo>
                      <a:pt x="916" y="298"/>
                    </a:lnTo>
                    <a:lnTo>
                      <a:pt x="940" y="302"/>
                    </a:lnTo>
                    <a:lnTo>
                      <a:pt x="960" y="306"/>
                    </a:lnTo>
                    <a:lnTo>
                      <a:pt x="972" y="306"/>
                    </a:lnTo>
                    <a:lnTo>
                      <a:pt x="980" y="314"/>
                    </a:lnTo>
                    <a:lnTo>
                      <a:pt x="993" y="326"/>
                    </a:lnTo>
                    <a:lnTo>
                      <a:pt x="1021" y="326"/>
                    </a:lnTo>
                    <a:lnTo>
                      <a:pt x="1045" y="326"/>
                    </a:lnTo>
                    <a:lnTo>
                      <a:pt x="1057" y="318"/>
                    </a:lnTo>
                    <a:lnTo>
                      <a:pt x="1069" y="314"/>
                    </a:lnTo>
                    <a:lnTo>
                      <a:pt x="1093" y="314"/>
                    </a:lnTo>
                    <a:lnTo>
                      <a:pt x="1126" y="310"/>
                    </a:lnTo>
                    <a:lnTo>
                      <a:pt x="1134" y="314"/>
                    </a:lnTo>
                    <a:lnTo>
                      <a:pt x="1142" y="318"/>
                    </a:lnTo>
                    <a:lnTo>
                      <a:pt x="1186" y="318"/>
                    </a:lnTo>
                    <a:lnTo>
                      <a:pt x="1222" y="314"/>
                    </a:lnTo>
                    <a:lnTo>
                      <a:pt x="1218" y="338"/>
                    </a:lnTo>
                    <a:lnTo>
                      <a:pt x="1214" y="351"/>
                    </a:lnTo>
                    <a:lnTo>
                      <a:pt x="1194" y="367"/>
                    </a:lnTo>
                    <a:lnTo>
                      <a:pt x="1186" y="387"/>
                    </a:lnTo>
                    <a:lnTo>
                      <a:pt x="1178" y="403"/>
                    </a:lnTo>
                    <a:lnTo>
                      <a:pt x="1174" y="419"/>
                    </a:lnTo>
                    <a:lnTo>
                      <a:pt x="1166" y="427"/>
                    </a:lnTo>
                    <a:lnTo>
                      <a:pt x="1158" y="431"/>
                    </a:lnTo>
                    <a:lnTo>
                      <a:pt x="1150" y="464"/>
                    </a:lnTo>
                    <a:lnTo>
                      <a:pt x="1146" y="472"/>
                    </a:lnTo>
                    <a:lnTo>
                      <a:pt x="1146" y="488"/>
                    </a:lnTo>
                    <a:lnTo>
                      <a:pt x="1146" y="508"/>
                    </a:lnTo>
                    <a:lnTo>
                      <a:pt x="1138" y="512"/>
                    </a:lnTo>
                    <a:lnTo>
                      <a:pt x="1126" y="520"/>
                    </a:lnTo>
                    <a:lnTo>
                      <a:pt x="1134" y="532"/>
                    </a:lnTo>
                    <a:lnTo>
                      <a:pt x="1134" y="536"/>
                    </a:lnTo>
                    <a:lnTo>
                      <a:pt x="1142" y="544"/>
                    </a:lnTo>
                    <a:lnTo>
                      <a:pt x="1150" y="548"/>
                    </a:lnTo>
                    <a:lnTo>
                      <a:pt x="1158" y="556"/>
                    </a:lnTo>
                    <a:lnTo>
                      <a:pt x="1162" y="572"/>
                    </a:lnTo>
                    <a:lnTo>
                      <a:pt x="1162" y="585"/>
                    </a:lnTo>
                    <a:lnTo>
                      <a:pt x="1162" y="597"/>
                    </a:lnTo>
                    <a:lnTo>
                      <a:pt x="1150" y="609"/>
                    </a:lnTo>
                    <a:lnTo>
                      <a:pt x="1142" y="625"/>
                    </a:lnTo>
                    <a:lnTo>
                      <a:pt x="1134" y="637"/>
                    </a:lnTo>
                    <a:lnTo>
                      <a:pt x="1126" y="645"/>
                    </a:lnTo>
                    <a:lnTo>
                      <a:pt x="1122" y="645"/>
                    </a:lnTo>
                    <a:lnTo>
                      <a:pt x="1114" y="649"/>
                    </a:lnTo>
                    <a:lnTo>
                      <a:pt x="1110" y="653"/>
                    </a:lnTo>
                    <a:lnTo>
                      <a:pt x="1097" y="661"/>
                    </a:lnTo>
                    <a:lnTo>
                      <a:pt x="1097" y="677"/>
                    </a:lnTo>
                    <a:lnTo>
                      <a:pt x="1093" y="694"/>
                    </a:lnTo>
                    <a:lnTo>
                      <a:pt x="1089" y="702"/>
                    </a:lnTo>
                    <a:lnTo>
                      <a:pt x="1085" y="722"/>
                    </a:lnTo>
                    <a:lnTo>
                      <a:pt x="1085" y="742"/>
                    </a:lnTo>
                    <a:lnTo>
                      <a:pt x="1069" y="766"/>
                    </a:lnTo>
                    <a:lnTo>
                      <a:pt x="1057" y="778"/>
                    </a:lnTo>
                    <a:lnTo>
                      <a:pt x="1045" y="786"/>
                    </a:lnTo>
                    <a:lnTo>
                      <a:pt x="1033" y="794"/>
                    </a:lnTo>
                    <a:lnTo>
                      <a:pt x="1029" y="806"/>
                    </a:lnTo>
                    <a:lnTo>
                      <a:pt x="1021" y="815"/>
                    </a:lnTo>
                    <a:lnTo>
                      <a:pt x="1009" y="839"/>
                    </a:lnTo>
                    <a:lnTo>
                      <a:pt x="1001" y="867"/>
                    </a:lnTo>
                    <a:lnTo>
                      <a:pt x="993" y="887"/>
                    </a:lnTo>
                    <a:lnTo>
                      <a:pt x="976" y="907"/>
                    </a:lnTo>
                    <a:lnTo>
                      <a:pt x="976" y="915"/>
                    </a:lnTo>
                    <a:lnTo>
                      <a:pt x="972" y="928"/>
                    </a:lnTo>
                    <a:lnTo>
                      <a:pt x="944" y="964"/>
                    </a:lnTo>
                    <a:lnTo>
                      <a:pt x="932" y="972"/>
                    </a:lnTo>
                    <a:lnTo>
                      <a:pt x="932" y="968"/>
                    </a:lnTo>
                    <a:lnTo>
                      <a:pt x="928" y="96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19" name="Freeform 27"/>
              <p:cNvSpPr>
                <a:spLocks/>
              </p:cNvSpPr>
              <p:nvPr/>
            </p:nvSpPr>
            <p:spPr bwMode="auto">
              <a:xfrm>
                <a:off x="2386097" y="4201125"/>
                <a:ext cx="1123951" cy="1261442"/>
              </a:xfrm>
              <a:custGeom>
                <a:avLst/>
                <a:gdLst>
                  <a:gd name="T0" fmla="*/ 2147483647 w 1251"/>
                  <a:gd name="T1" fmla="*/ 2147483647 h 1417"/>
                  <a:gd name="T2" fmla="*/ 2147483647 w 1251"/>
                  <a:gd name="T3" fmla="*/ 2147483647 h 1417"/>
                  <a:gd name="T4" fmla="*/ 2147483647 w 1251"/>
                  <a:gd name="T5" fmla="*/ 2147483647 h 1417"/>
                  <a:gd name="T6" fmla="*/ 2147483647 w 1251"/>
                  <a:gd name="T7" fmla="*/ 2147483647 h 1417"/>
                  <a:gd name="T8" fmla="*/ 2147483647 w 1251"/>
                  <a:gd name="T9" fmla="*/ 2147483647 h 1417"/>
                  <a:gd name="T10" fmla="*/ 2147483647 w 1251"/>
                  <a:gd name="T11" fmla="*/ 2147483647 h 1417"/>
                  <a:gd name="T12" fmla="*/ 2147483647 w 1251"/>
                  <a:gd name="T13" fmla="*/ 2147483647 h 1417"/>
                  <a:gd name="T14" fmla="*/ 2147483647 w 1251"/>
                  <a:gd name="T15" fmla="*/ 2147483647 h 1417"/>
                  <a:gd name="T16" fmla="*/ 2147483647 w 1251"/>
                  <a:gd name="T17" fmla="*/ 2147483647 h 1417"/>
                  <a:gd name="T18" fmla="*/ 2147483647 w 1251"/>
                  <a:gd name="T19" fmla="*/ 2147483647 h 1417"/>
                  <a:gd name="T20" fmla="*/ 2147483647 w 1251"/>
                  <a:gd name="T21" fmla="*/ 2147483647 h 1417"/>
                  <a:gd name="T22" fmla="*/ 2147483647 w 1251"/>
                  <a:gd name="T23" fmla="*/ 2147483647 h 1417"/>
                  <a:gd name="T24" fmla="*/ 2147483647 w 1251"/>
                  <a:gd name="T25" fmla="*/ 2147483647 h 1417"/>
                  <a:gd name="T26" fmla="*/ 2147483647 w 1251"/>
                  <a:gd name="T27" fmla="*/ 2147483647 h 1417"/>
                  <a:gd name="T28" fmla="*/ 2147483647 w 1251"/>
                  <a:gd name="T29" fmla="*/ 2147483647 h 1417"/>
                  <a:gd name="T30" fmla="*/ 2147483647 w 1251"/>
                  <a:gd name="T31" fmla="*/ 2147483647 h 1417"/>
                  <a:gd name="T32" fmla="*/ 2147483647 w 1251"/>
                  <a:gd name="T33" fmla="*/ 2147483647 h 1417"/>
                  <a:gd name="T34" fmla="*/ 2147483647 w 1251"/>
                  <a:gd name="T35" fmla="*/ 2147483647 h 1417"/>
                  <a:gd name="T36" fmla="*/ 2147483647 w 1251"/>
                  <a:gd name="T37" fmla="*/ 2147483647 h 1417"/>
                  <a:gd name="T38" fmla="*/ 2147483647 w 1251"/>
                  <a:gd name="T39" fmla="*/ 2147483647 h 1417"/>
                  <a:gd name="T40" fmla="*/ 2147483647 w 1251"/>
                  <a:gd name="T41" fmla="*/ 2147483647 h 1417"/>
                  <a:gd name="T42" fmla="*/ 2147483647 w 1251"/>
                  <a:gd name="T43" fmla="*/ 2147483647 h 1417"/>
                  <a:gd name="T44" fmla="*/ 2147483647 w 1251"/>
                  <a:gd name="T45" fmla="*/ 2147483647 h 1417"/>
                  <a:gd name="T46" fmla="*/ 2147483647 w 1251"/>
                  <a:gd name="T47" fmla="*/ 2147483647 h 1417"/>
                  <a:gd name="T48" fmla="*/ 2147483647 w 1251"/>
                  <a:gd name="T49" fmla="*/ 2147483647 h 1417"/>
                  <a:gd name="T50" fmla="*/ 2147483647 w 1251"/>
                  <a:gd name="T51" fmla="*/ 2147483647 h 1417"/>
                  <a:gd name="T52" fmla="*/ 2147483647 w 1251"/>
                  <a:gd name="T53" fmla="*/ 2147483647 h 1417"/>
                  <a:gd name="T54" fmla="*/ 2147483647 w 1251"/>
                  <a:gd name="T55" fmla="*/ 2147483647 h 1417"/>
                  <a:gd name="T56" fmla="*/ 2147483647 w 1251"/>
                  <a:gd name="T57" fmla="*/ 2147483647 h 1417"/>
                  <a:gd name="T58" fmla="*/ 2147483647 w 1251"/>
                  <a:gd name="T59" fmla="*/ 2147483647 h 1417"/>
                  <a:gd name="T60" fmla="*/ 2147483647 w 1251"/>
                  <a:gd name="T61" fmla="*/ 2147483647 h 1417"/>
                  <a:gd name="T62" fmla="*/ 2147483647 w 1251"/>
                  <a:gd name="T63" fmla="*/ 2147483647 h 1417"/>
                  <a:gd name="T64" fmla="*/ 2147483647 w 1251"/>
                  <a:gd name="T65" fmla="*/ 2147483647 h 1417"/>
                  <a:gd name="T66" fmla="*/ 2147483647 w 1251"/>
                  <a:gd name="T67" fmla="*/ 2147483647 h 1417"/>
                  <a:gd name="T68" fmla="*/ 2147483647 w 1251"/>
                  <a:gd name="T69" fmla="*/ 2147483647 h 1417"/>
                  <a:gd name="T70" fmla="*/ 2147483647 w 1251"/>
                  <a:gd name="T71" fmla="*/ 2147483647 h 1417"/>
                  <a:gd name="T72" fmla="*/ 2147483647 w 1251"/>
                  <a:gd name="T73" fmla="*/ 2147483647 h 1417"/>
                  <a:gd name="T74" fmla="*/ 2147483647 w 1251"/>
                  <a:gd name="T75" fmla="*/ 2147483647 h 1417"/>
                  <a:gd name="T76" fmla="*/ 2147483647 w 1251"/>
                  <a:gd name="T77" fmla="*/ 2147483647 h 1417"/>
                  <a:gd name="T78" fmla="*/ 2147483647 w 1251"/>
                  <a:gd name="T79" fmla="*/ 2147483647 h 1417"/>
                  <a:gd name="T80" fmla="*/ 2147483647 w 1251"/>
                  <a:gd name="T81" fmla="*/ 2147483647 h 1417"/>
                  <a:gd name="T82" fmla="*/ 2147483647 w 1251"/>
                  <a:gd name="T83" fmla="*/ 2147483647 h 1417"/>
                  <a:gd name="T84" fmla="*/ 2147483647 w 1251"/>
                  <a:gd name="T85" fmla="*/ 2147483647 h 1417"/>
                  <a:gd name="T86" fmla="*/ 2147483647 w 1251"/>
                  <a:gd name="T87" fmla="*/ 2147483647 h 1417"/>
                  <a:gd name="T88" fmla="*/ 2147483647 w 1251"/>
                  <a:gd name="T89" fmla="*/ 2147483647 h 1417"/>
                  <a:gd name="T90" fmla="*/ 2147483647 w 1251"/>
                  <a:gd name="T91" fmla="*/ 2147483647 h 1417"/>
                  <a:gd name="T92" fmla="*/ 2147483647 w 1251"/>
                  <a:gd name="T93" fmla="*/ 2147483647 h 1417"/>
                  <a:gd name="T94" fmla="*/ 2147483647 w 1251"/>
                  <a:gd name="T95" fmla="*/ 2147483647 h 1417"/>
                  <a:gd name="T96" fmla="*/ 2147483647 w 1251"/>
                  <a:gd name="T97" fmla="*/ 2147483647 h 1417"/>
                  <a:gd name="T98" fmla="*/ 2147483647 w 1251"/>
                  <a:gd name="T99" fmla="*/ 2147483647 h 1417"/>
                  <a:gd name="T100" fmla="*/ 2147483647 w 1251"/>
                  <a:gd name="T101" fmla="*/ 2147483647 h 1417"/>
                  <a:gd name="T102" fmla="*/ 2147483647 w 1251"/>
                  <a:gd name="T103" fmla="*/ 2147483647 h 1417"/>
                  <a:gd name="T104" fmla="*/ 2147483647 w 1251"/>
                  <a:gd name="T105" fmla="*/ 2147483647 h 1417"/>
                  <a:gd name="T106" fmla="*/ 2147483647 w 1251"/>
                  <a:gd name="T107" fmla="*/ 2147483647 h 1417"/>
                  <a:gd name="T108" fmla="*/ 2147483647 w 1251"/>
                  <a:gd name="T109" fmla="*/ 2147483647 h 1417"/>
                  <a:gd name="T110" fmla="*/ 2147483647 w 1251"/>
                  <a:gd name="T111" fmla="*/ 2147483647 h 1417"/>
                  <a:gd name="T112" fmla="*/ 2147483647 w 1251"/>
                  <a:gd name="T113" fmla="*/ 2147483647 h 1417"/>
                  <a:gd name="T114" fmla="*/ 2147483647 w 1251"/>
                  <a:gd name="T115" fmla="*/ 2147483647 h 1417"/>
                  <a:gd name="T116" fmla="*/ 2147483647 w 1251"/>
                  <a:gd name="T117" fmla="*/ 2147483647 h 1417"/>
                  <a:gd name="T118" fmla="*/ 2147483647 w 1251"/>
                  <a:gd name="T119" fmla="*/ 2147483647 h 141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251"/>
                  <a:gd name="T181" fmla="*/ 0 h 1417"/>
                  <a:gd name="T182" fmla="*/ 1251 w 1251"/>
                  <a:gd name="T183" fmla="*/ 1417 h 141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251" h="1417">
                    <a:moveTo>
                      <a:pt x="879" y="1417"/>
                    </a:moveTo>
                    <a:lnTo>
                      <a:pt x="867" y="1413"/>
                    </a:lnTo>
                    <a:lnTo>
                      <a:pt x="859" y="1409"/>
                    </a:lnTo>
                    <a:lnTo>
                      <a:pt x="855" y="1380"/>
                    </a:lnTo>
                    <a:lnTo>
                      <a:pt x="855" y="1336"/>
                    </a:lnTo>
                    <a:lnTo>
                      <a:pt x="867" y="1328"/>
                    </a:lnTo>
                    <a:lnTo>
                      <a:pt x="883" y="1316"/>
                    </a:lnTo>
                    <a:lnTo>
                      <a:pt x="883" y="1304"/>
                    </a:lnTo>
                    <a:lnTo>
                      <a:pt x="883" y="1292"/>
                    </a:lnTo>
                    <a:lnTo>
                      <a:pt x="867" y="1279"/>
                    </a:lnTo>
                    <a:lnTo>
                      <a:pt x="855" y="1267"/>
                    </a:lnTo>
                    <a:lnTo>
                      <a:pt x="851" y="1267"/>
                    </a:lnTo>
                    <a:lnTo>
                      <a:pt x="843" y="1263"/>
                    </a:lnTo>
                    <a:lnTo>
                      <a:pt x="835" y="1263"/>
                    </a:lnTo>
                    <a:lnTo>
                      <a:pt x="831" y="1259"/>
                    </a:lnTo>
                    <a:lnTo>
                      <a:pt x="831" y="1243"/>
                    </a:lnTo>
                    <a:lnTo>
                      <a:pt x="831" y="1223"/>
                    </a:lnTo>
                    <a:lnTo>
                      <a:pt x="831" y="1215"/>
                    </a:lnTo>
                    <a:lnTo>
                      <a:pt x="843" y="1199"/>
                    </a:lnTo>
                    <a:lnTo>
                      <a:pt x="847" y="1195"/>
                    </a:lnTo>
                    <a:lnTo>
                      <a:pt x="855" y="1191"/>
                    </a:lnTo>
                    <a:lnTo>
                      <a:pt x="859" y="1175"/>
                    </a:lnTo>
                    <a:lnTo>
                      <a:pt x="863" y="1170"/>
                    </a:lnTo>
                    <a:lnTo>
                      <a:pt x="863" y="1166"/>
                    </a:lnTo>
                    <a:lnTo>
                      <a:pt x="863" y="1162"/>
                    </a:lnTo>
                    <a:lnTo>
                      <a:pt x="831" y="1122"/>
                    </a:lnTo>
                    <a:lnTo>
                      <a:pt x="815" y="1114"/>
                    </a:lnTo>
                    <a:lnTo>
                      <a:pt x="799" y="1102"/>
                    </a:lnTo>
                    <a:lnTo>
                      <a:pt x="787" y="1102"/>
                    </a:lnTo>
                    <a:lnTo>
                      <a:pt x="787" y="1086"/>
                    </a:lnTo>
                    <a:lnTo>
                      <a:pt x="787" y="1078"/>
                    </a:lnTo>
                    <a:lnTo>
                      <a:pt x="803" y="1066"/>
                    </a:lnTo>
                    <a:lnTo>
                      <a:pt x="823" y="1049"/>
                    </a:lnTo>
                    <a:lnTo>
                      <a:pt x="823" y="1037"/>
                    </a:lnTo>
                    <a:lnTo>
                      <a:pt x="823" y="1025"/>
                    </a:lnTo>
                    <a:lnTo>
                      <a:pt x="795" y="997"/>
                    </a:lnTo>
                    <a:lnTo>
                      <a:pt x="783" y="985"/>
                    </a:lnTo>
                    <a:lnTo>
                      <a:pt x="771" y="985"/>
                    </a:lnTo>
                    <a:lnTo>
                      <a:pt x="750" y="985"/>
                    </a:lnTo>
                    <a:lnTo>
                      <a:pt x="742" y="932"/>
                    </a:lnTo>
                    <a:lnTo>
                      <a:pt x="734" y="864"/>
                    </a:lnTo>
                    <a:lnTo>
                      <a:pt x="730" y="860"/>
                    </a:lnTo>
                    <a:lnTo>
                      <a:pt x="730" y="856"/>
                    </a:lnTo>
                    <a:lnTo>
                      <a:pt x="714" y="848"/>
                    </a:lnTo>
                    <a:lnTo>
                      <a:pt x="698" y="844"/>
                    </a:lnTo>
                    <a:lnTo>
                      <a:pt x="690" y="832"/>
                    </a:lnTo>
                    <a:lnTo>
                      <a:pt x="670" y="815"/>
                    </a:lnTo>
                    <a:lnTo>
                      <a:pt x="658" y="811"/>
                    </a:lnTo>
                    <a:lnTo>
                      <a:pt x="645" y="799"/>
                    </a:lnTo>
                    <a:lnTo>
                      <a:pt x="633" y="787"/>
                    </a:lnTo>
                    <a:lnTo>
                      <a:pt x="613" y="779"/>
                    </a:lnTo>
                    <a:lnTo>
                      <a:pt x="609" y="775"/>
                    </a:lnTo>
                    <a:lnTo>
                      <a:pt x="605" y="767"/>
                    </a:lnTo>
                    <a:lnTo>
                      <a:pt x="597" y="763"/>
                    </a:lnTo>
                    <a:lnTo>
                      <a:pt x="585" y="763"/>
                    </a:lnTo>
                    <a:lnTo>
                      <a:pt x="569" y="739"/>
                    </a:lnTo>
                    <a:lnTo>
                      <a:pt x="557" y="723"/>
                    </a:lnTo>
                    <a:lnTo>
                      <a:pt x="553" y="715"/>
                    </a:lnTo>
                    <a:lnTo>
                      <a:pt x="553" y="711"/>
                    </a:lnTo>
                    <a:lnTo>
                      <a:pt x="537" y="694"/>
                    </a:lnTo>
                    <a:lnTo>
                      <a:pt x="528" y="682"/>
                    </a:lnTo>
                    <a:lnTo>
                      <a:pt x="524" y="670"/>
                    </a:lnTo>
                    <a:lnTo>
                      <a:pt x="524" y="666"/>
                    </a:lnTo>
                    <a:lnTo>
                      <a:pt x="512" y="650"/>
                    </a:lnTo>
                    <a:lnTo>
                      <a:pt x="488" y="630"/>
                    </a:lnTo>
                    <a:lnTo>
                      <a:pt x="468" y="630"/>
                    </a:lnTo>
                    <a:lnTo>
                      <a:pt x="436" y="630"/>
                    </a:lnTo>
                    <a:lnTo>
                      <a:pt x="432" y="630"/>
                    </a:lnTo>
                    <a:lnTo>
                      <a:pt x="424" y="634"/>
                    </a:lnTo>
                    <a:lnTo>
                      <a:pt x="420" y="646"/>
                    </a:lnTo>
                    <a:lnTo>
                      <a:pt x="416" y="654"/>
                    </a:lnTo>
                    <a:lnTo>
                      <a:pt x="416" y="662"/>
                    </a:lnTo>
                    <a:lnTo>
                      <a:pt x="416" y="682"/>
                    </a:lnTo>
                    <a:lnTo>
                      <a:pt x="403" y="682"/>
                    </a:lnTo>
                    <a:lnTo>
                      <a:pt x="395" y="686"/>
                    </a:lnTo>
                    <a:lnTo>
                      <a:pt x="375" y="698"/>
                    </a:lnTo>
                    <a:lnTo>
                      <a:pt x="371" y="702"/>
                    </a:lnTo>
                    <a:lnTo>
                      <a:pt x="363" y="702"/>
                    </a:lnTo>
                    <a:lnTo>
                      <a:pt x="359" y="702"/>
                    </a:lnTo>
                    <a:lnTo>
                      <a:pt x="351" y="698"/>
                    </a:lnTo>
                    <a:lnTo>
                      <a:pt x="335" y="686"/>
                    </a:lnTo>
                    <a:lnTo>
                      <a:pt x="319" y="686"/>
                    </a:lnTo>
                    <a:lnTo>
                      <a:pt x="299" y="686"/>
                    </a:lnTo>
                    <a:lnTo>
                      <a:pt x="282" y="702"/>
                    </a:lnTo>
                    <a:lnTo>
                      <a:pt x="274" y="711"/>
                    </a:lnTo>
                    <a:lnTo>
                      <a:pt x="270" y="731"/>
                    </a:lnTo>
                    <a:lnTo>
                      <a:pt x="258" y="743"/>
                    </a:lnTo>
                    <a:lnTo>
                      <a:pt x="258" y="779"/>
                    </a:lnTo>
                    <a:lnTo>
                      <a:pt x="254" y="811"/>
                    </a:lnTo>
                    <a:lnTo>
                      <a:pt x="246" y="815"/>
                    </a:lnTo>
                    <a:lnTo>
                      <a:pt x="238" y="807"/>
                    </a:lnTo>
                    <a:lnTo>
                      <a:pt x="226" y="799"/>
                    </a:lnTo>
                    <a:lnTo>
                      <a:pt x="190" y="799"/>
                    </a:lnTo>
                    <a:lnTo>
                      <a:pt x="153" y="799"/>
                    </a:lnTo>
                    <a:lnTo>
                      <a:pt x="149" y="795"/>
                    </a:lnTo>
                    <a:lnTo>
                      <a:pt x="137" y="787"/>
                    </a:lnTo>
                    <a:lnTo>
                      <a:pt x="117" y="787"/>
                    </a:lnTo>
                    <a:lnTo>
                      <a:pt x="97" y="787"/>
                    </a:lnTo>
                    <a:lnTo>
                      <a:pt x="85" y="795"/>
                    </a:lnTo>
                    <a:lnTo>
                      <a:pt x="77" y="807"/>
                    </a:lnTo>
                    <a:lnTo>
                      <a:pt x="65" y="799"/>
                    </a:lnTo>
                    <a:lnTo>
                      <a:pt x="61" y="799"/>
                    </a:lnTo>
                    <a:lnTo>
                      <a:pt x="61" y="783"/>
                    </a:lnTo>
                    <a:lnTo>
                      <a:pt x="61" y="767"/>
                    </a:lnTo>
                    <a:lnTo>
                      <a:pt x="44" y="747"/>
                    </a:lnTo>
                    <a:lnTo>
                      <a:pt x="36" y="743"/>
                    </a:lnTo>
                    <a:lnTo>
                      <a:pt x="32" y="735"/>
                    </a:lnTo>
                    <a:lnTo>
                      <a:pt x="28" y="727"/>
                    </a:lnTo>
                    <a:lnTo>
                      <a:pt x="20" y="715"/>
                    </a:lnTo>
                    <a:lnTo>
                      <a:pt x="16" y="711"/>
                    </a:lnTo>
                    <a:lnTo>
                      <a:pt x="12" y="694"/>
                    </a:lnTo>
                    <a:lnTo>
                      <a:pt x="8" y="682"/>
                    </a:lnTo>
                    <a:lnTo>
                      <a:pt x="8" y="674"/>
                    </a:lnTo>
                    <a:lnTo>
                      <a:pt x="0" y="674"/>
                    </a:lnTo>
                    <a:lnTo>
                      <a:pt x="0" y="618"/>
                    </a:lnTo>
                    <a:lnTo>
                      <a:pt x="0" y="561"/>
                    </a:lnTo>
                    <a:lnTo>
                      <a:pt x="8" y="549"/>
                    </a:lnTo>
                    <a:lnTo>
                      <a:pt x="12" y="537"/>
                    </a:lnTo>
                    <a:lnTo>
                      <a:pt x="12" y="517"/>
                    </a:lnTo>
                    <a:lnTo>
                      <a:pt x="16" y="493"/>
                    </a:lnTo>
                    <a:lnTo>
                      <a:pt x="20" y="485"/>
                    </a:lnTo>
                    <a:lnTo>
                      <a:pt x="24" y="481"/>
                    </a:lnTo>
                    <a:lnTo>
                      <a:pt x="28" y="464"/>
                    </a:lnTo>
                    <a:lnTo>
                      <a:pt x="28" y="448"/>
                    </a:lnTo>
                    <a:lnTo>
                      <a:pt x="32" y="440"/>
                    </a:lnTo>
                    <a:lnTo>
                      <a:pt x="36" y="420"/>
                    </a:lnTo>
                    <a:lnTo>
                      <a:pt x="44" y="420"/>
                    </a:lnTo>
                    <a:lnTo>
                      <a:pt x="48" y="408"/>
                    </a:lnTo>
                    <a:lnTo>
                      <a:pt x="61" y="408"/>
                    </a:lnTo>
                    <a:lnTo>
                      <a:pt x="65" y="408"/>
                    </a:lnTo>
                    <a:lnTo>
                      <a:pt x="77" y="420"/>
                    </a:lnTo>
                    <a:lnTo>
                      <a:pt x="85" y="420"/>
                    </a:lnTo>
                    <a:lnTo>
                      <a:pt x="109" y="428"/>
                    </a:lnTo>
                    <a:lnTo>
                      <a:pt x="157" y="428"/>
                    </a:lnTo>
                    <a:lnTo>
                      <a:pt x="165" y="420"/>
                    </a:lnTo>
                    <a:lnTo>
                      <a:pt x="178" y="420"/>
                    </a:lnTo>
                    <a:lnTo>
                      <a:pt x="218" y="420"/>
                    </a:lnTo>
                    <a:lnTo>
                      <a:pt x="258" y="420"/>
                    </a:lnTo>
                    <a:lnTo>
                      <a:pt x="290" y="428"/>
                    </a:lnTo>
                    <a:lnTo>
                      <a:pt x="323" y="428"/>
                    </a:lnTo>
                    <a:lnTo>
                      <a:pt x="347" y="420"/>
                    </a:lnTo>
                    <a:lnTo>
                      <a:pt x="403" y="400"/>
                    </a:lnTo>
                    <a:lnTo>
                      <a:pt x="436" y="400"/>
                    </a:lnTo>
                    <a:lnTo>
                      <a:pt x="464" y="404"/>
                    </a:lnTo>
                    <a:lnTo>
                      <a:pt x="468" y="400"/>
                    </a:lnTo>
                    <a:lnTo>
                      <a:pt x="472" y="400"/>
                    </a:lnTo>
                    <a:lnTo>
                      <a:pt x="557" y="396"/>
                    </a:lnTo>
                    <a:lnTo>
                      <a:pt x="569" y="396"/>
                    </a:lnTo>
                    <a:lnTo>
                      <a:pt x="577" y="408"/>
                    </a:lnTo>
                    <a:lnTo>
                      <a:pt x="577" y="420"/>
                    </a:lnTo>
                    <a:lnTo>
                      <a:pt x="581" y="420"/>
                    </a:lnTo>
                    <a:lnTo>
                      <a:pt x="581" y="428"/>
                    </a:lnTo>
                    <a:lnTo>
                      <a:pt x="605" y="428"/>
                    </a:lnTo>
                    <a:lnTo>
                      <a:pt x="629" y="428"/>
                    </a:lnTo>
                    <a:lnTo>
                      <a:pt x="633" y="420"/>
                    </a:lnTo>
                    <a:lnTo>
                      <a:pt x="637" y="420"/>
                    </a:lnTo>
                    <a:lnTo>
                      <a:pt x="654" y="408"/>
                    </a:lnTo>
                    <a:lnTo>
                      <a:pt x="670" y="392"/>
                    </a:lnTo>
                    <a:lnTo>
                      <a:pt x="674" y="372"/>
                    </a:lnTo>
                    <a:lnTo>
                      <a:pt x="682" y="335"/>
                    </a:lnTo>
                    <a:lnTo>
                      <a:pt x="690" y="335"/>
                    </a:lnTo>
                    <a:lnTo>
                      <a:pt x="694" y="315"/>
                    </a:lnTo>
                    <a:lnTo>
                      <a:pt x="694" y="295"/>
                    </a:lnTo>
                    <a:lnTo>
                      <a:pt x="706" y="283"/>
                    </a:lnTo>
                    <a:lnTo>
                      <a:pt x="710" y="271"/>
                    </a:lnTo>
                    <a:lnTo>
                      <a:pt x="714" y="251"/>
                    </a:lnTo>
                    <a:lnTo>
                      <a:pt x="718" y="230"/>
                    </a:lnTo>
                    <a:lnTo>
                      <a:pt x="722" y="214"/>
                    </a:lnTo>
                    <a:lnTo>
                      <a:pt x="730" y="202"/>
                    </a:lnTo>
                    <a:lnTo>
                      <a:pt x="730" y="162"/>
                    </a:lnTo>
                    <a:lnTo>
                      <a:pt x="734" y="117"/>
                    </a:lnTo>
                    <a:lnTo>
                      <a:pt x="734" y="113"/>
                    </a:lnTo>
                    <a:lnTo>
                      <a:pt x="742" y="97"/>
                    </a:lnTo>
                    <a:lnTo>
                      <a:pt x="771" y="89"/>
                    </a:lnTo>
                    <a:lnTo>
                      <a:pt x="799" y="77"/>
                    </a:lnTo>
                    <a:lnTo>
                      <a:pt x="807" y="77"/>
                    </a:lnTo>
                    <a:lnTo>
                      <a:pt x="823" y="77"/>
                    </a:lnTo>
                    <a:lnTo>
                      <a:pt x="823" y="81"/>
                    </a:lnTo>
                    <a:lnTo>
                      <a:pt x="823" y="97"/>
                    </a:lnTo>
                    <a:lnTo>
                      <a:pt x="831" y="113"/>
                    </a:lnTo>
                    <a:lnTo>
                      <a:pt x="859" y="134"/>
                    </a:lnTo>
                    <a:lnTo>
                      <a:pt x="863" y="134"/>
                    </a:lnTo>
                    <a:lnTo>
                      <a:pt x="875" y="138"/>
                    </a:lnTo>
                    <a:lnTo>
                      <a:pt x="892" y="138"/>
                    </a:lnTo>
                    <a:lnTo>
                      <a:pt x="916" y="138"/>
                    </a:lnTo>
                    <a:lnTo>
                      <a:pt x="920" y="134"/>
                    </a:lnTo>
                    <a:lnTo>
                      <a:pt x="924" y="130"/>
                    </a:lnTo>
                    <a:lnTo>
                      <a:pt x="924" y="113"/>
                    </a:lnTo>
                    <a:lnTo>
                      <a:pt x="924" y="97"/>
                    </a:lnTo>
                    <a:lnTo>
                      <a:pt x="924" y="89"/>
                    </a:lnTo>
                    <a:lnTo>
                      <a:pt x="920" y="81"/>
                    </a:lnTo>
                    <a:lnTo>
                      <a:pt x="920" y="77"/>
                    </a:lnTo>
                    <a:lnTo>
                      <a:pt x="920" y="69"/>
                    </a:lnTo>
                    <a:lnTo>
                      <a:pt x="928" y="57"/>
                    </a:lnTo>
                    <a:lnTo>
                      <a:pt x="944" y="41"/>
                    </a:lnTo>
                    <a:lnTo>
                      <a:pt x="956" y="33"/>
                    </a:lnTo>
                    <a:lnTo>
                      <a:pt x="976" y="25"/>
                    </a:lnTo>
                    <a:lnTo>
                      <a:pt x="1000" y="13"/>
                    </a:lnTo>
                    <a:lnTo>
                      <a:pt x="1017" y="0"/>
                    </a:lnTo>
                    <a:lnTo>
                      <a:pt x="1025" y="0"/>
                    </a:lnTo>
                    <a:lnTo>
                      <a:pt x="1033" y="0"/>
                    </a:lnTo>
                    <a:lnTo>
                      <a:pt x="1049" y="17"/>
                    </a:lnTo>
                    <a:lnTo>
                      <a:pt x="1057" y="33"/>
                    </a:lnTo>
                    <a:lnTo>
                      <a:pt x="1061" y="41"/>
                    </a:lnTo>
                    <a:lnTo>
                      <a:pt x="1069" y="45"/>
                    </a:lnTo>
                    <a:lnTo>
                      <a:pt x="1069" y="53"/>
                    </a:lnTo>
                    <a:lnTo>
                      <a:pt x="1073" y="57"/>
                    </a:lnTo>
                    <a:lnTo>
                      <a:pt x="1073" y="61"/>
                    </a:lnTo>
                    <a:lnTo>
                      <a:pt x="1077" y="65"/>
                    </a:lnTo>
                    <a:lnTo>
                      <a:pt x="1081" y="77"/>
                    </a:lnTo>
                    <a:lnTo>
                      <a:pt x="1085" y="81"/>
                    </a:lnTo>
                    <a:lnTo>
                      <a:pt x="1093" y="93"/>
                    </a:lnTo>
                    <a:lnTo>
                      <a:pt x="1101" y="101"/>
                    </a:lnTo>
                    <a:lnTo>
                      <a:pt x="1101" y="113"/>
                    </a:lnTo>
                    <a:lnTo>
                      <a:pt x="1105" y="134"/>
                    </a:lnTo>
                    <a:lnTo>
                      <a:pt x="1109" y="138"/>
                    </a:lnTo>
                    <a:lnTo>
                      <a:pt x="1113" y="146"/>
                    </a:lnTo>
                    <a:lnTo>
                      <a:pt x="1117" y="162"/>
                    </a:lnTo>
                    <a:lnTo>
                      <a:pt x="1121" y="174"/>
                    </a:lnTo>
                    <a:lnTo>
                      <a:pt x="1117" y="206"/>
                    </a:lnTo>
                    <a:lnTo>
                      <a:pt x="1117" y="230"/>
                    </a:lnTo>
                    <a:lnTo>
                      <a:pt x="1109" y="247"/>
                    </a:lnTo>
                    <a:lnTo>
                      <a:pt x="1105" y="255"/>
                    </a:lnTo>
                    <a:lnTo>
                      <a:pt x="1101" y="287"/>
                    </a:lnTo>
                    <a:lnTo>
                      <a:pt x="1101" y="311"/>
                    </a:lnTo>
                    <a:lnTo>
                      <a:pt x="1117" y="335"/>
                    </a:lnTo>
                    <a:lnTo>
                      <a:pt x="1130" y="347"/>
                    </a:lnTo>
                    <a:lnTo>
                      <a:pt x="1162" y="331"/>
                    </a:lnTo>
                    <a:lnTo>
                      <a:pt x="1182" y="323"/>
                    </a:lnTo>
                    <a:lnTo>
                      <a:pt x="1186" y="323"/>
                    </a:lnTo>
                    <a:lnTo>
                      <a:pt x="1190" y="323"/>
                    </a:lnTo>
                    <a:lnTo>
                      <a:pt x="1194" y="323"/>
                    </a:lnTo>
                    <a:lnTo>
                      <a:pt x="1198" y="331"/>
                    </a:lnTo>
                    <a:lnTo>
                      <a:pt x="1198" y="335"/>
                    </a:lnTo>
                    <a:lnTo>
                      <a:pt x="1198" y="351"/>
                    </a:lnTo>
                    <a:lnTo>
                      <a:pt x="1186" y="380"/>
                    </a:lnTo>
                    <a:lnTo>
                      <a:pt x="1170" y="400"/>
                    </a:lnTo>
                    <a:lnTo>
                      <a:pt x="1166" y="408"/>
                    </a:lnTo>
                    <a:lnTo>
                      <a:pt x="1158" y="420"/>
                    </a:lnTo>
                    <a:lnTo>
                      <a:pt x="1154" y="432"/>
                    </a:lnTo>
                    <a:lnTo>
                      <a:pt x="1150" y="440"/>
                    </a:lnTo>
                    <a:lnTo>
                      <a:pt x="1146" y="448"/>
                    </a:lnTo>
                    <a:lnTo>
                      <a:pt x="1134" y="456"/>
                    </a:lnTo>
                    <a:lnTo>
                      <a:pt x="1134" y="468"/>
                    </a:lnTo>
                    <a:lnTo>
                      <a:pt x="1130" y="485"/>
                    </a:lnTo>
                    <a:lnTo>
                      <a:pt x="1113" y="493"/>
                    </a:lnTo>
                    <a:lnTo>
                      <a:pt x="1101" y="505"/>
                    </a:lnTo>
                    <a:lnTo>
                      <a:pt x="1093" y="509"/>
                    </a:lnTo>
                    <a:lnTo>
                      <a:pt x="1081" y="513"/>
                    </a:lnTo>
                    <a:lnTo>
                      <a:pt x="1081" y="521"/>
                    </a:lnTo>
                    <a:lnTo>
                      <a:pt x="1081" y="529"/>
                    </a:lnTo>
                    <a:lnTo>
                      <a:pt x="1057" y="561"/>
                    </a:lnTo>
                    <a:lnTo>
                      <a:pt x="1049" y="569"/>
                    </a:lnTo>
                    <a:lnTo>
                      <a:pt x="1045" y="573"/>
                    </a:lnTo>
                    <a:lnTo>
                      <a:pt x="1033" y="573"/>
                    </a:lnTo>
                    <a:lnTo>
                      <a:pt x="1005" y="573"/>
                    </a:lnTo>
                    <a:lnTo>
                      <a:pt x="972" y="573"/>
                    </a:lnTo>
                    <a:lnTo>
                      <a:pt x="964" y="581"/>
                    </a:lnTo>
                    <a:lnTo>
                      <a:pt x="952" y="598"/>
                    </a:lnTo>
                    <a:lnTo>
                      <a:pt x="952" y="606"/>
                    </a:lnTo>
                    <a:lnTo>
                      <a:pt x="944" y="618"/>
                    </a:lnTo>
                    <a:lnTo>
                      <a:pt x="944" y="634"/>
                    </a:lnTo>
                    <a:lnTo>
                      <a:pt x="944" y="654"/>
                    </a:lnTo>
                    <a:lnTo>
                      <a:pt x="952" y="662"/>
                    </a:lnTo>
                    <a:lnTo>
                      <a:pt x="952" y="666"/>
                    </a:lnTo>
                    <a:lnTo>
                      <a:pt x="952" y="670"/>
                    </a:lnTo>
                    <a:lnTo>
                      <a:pt x="952" y="674"/>
                    </a:lnTo>
                    <a:lnTo>
                      <a:pt x="944" y="686"/>
                    </a:lnTo>
                    <a:lnTo>
                      <a:pt x="940" y="698"/>
                    </a:lnTo>
                    <a:lnTo>
                      <a:pt x="936" y="715"/>
                    </a:lnTo>
                    <a:lnTo>
                      <a:pt x="928" y="735"/>
                    </a:lnTo>
                    <a:lnTo>
                      <a:pt x="928" y="743"/>
                    </a:lnTo>
                    <a:lnTo>
                      <a:pt x="924" y="747"/>
                    </a:lnTo>
                    <a:lnTo>
                      <a:pt x="920" y="763"/>
                    </a:lnTo>
                    <a:lnTo>
                      <a:pt x="916" y="775"/>
                    </a:lnTo>
                    <a:lnTo>
                      <a:pt x="908" y="783"/>
                    </a:lnTo>
                    <a:lnTo>
                      <a:pt x="892" y="799"/>
                    </a:lnTo>
                    <a:lnTo>
                      <a:pt x="892" y="824"/>
                    </a:lnTo>
                    <a:lnTo>
                      <a:pt x="892" y="848"/>
                    </a:lnTo>
                    <a:lnTo>
                      <a:pt x="900" y="860"/>
                    </a:lnTo>
                    <a:lnTo>
                      <a:pt x="900" y="864"/>
                    </a:lnTo>
                    <a:lnTo>
                      <a:pt x="904" y="884"/>
                    </a:lnTo>
                    <a:lnTo>
                      <a:pt x="908" y="896"/>
                    </a:lnTo>
                    <a:lnTo>
                      <a:pt x="908" y="904"/>
                    </a:lnTo>
                    <a:lnTo>
                      <a:pt x="908" y="912"/>
                    </a:lnTo>
                    <a:lnTo>
                      <a:pt x="900" y="932"/>
                    </a:lnTo>
                    <a:lnTo>
                      <a:pt x="892" y="949"/>
                    </a:lnTo>
                    <a:lnTo>
                      <a:pt x="892" y="957"/>
                    </a:lnTo>
                    <a:lnTo>
                      <a:pt x="892" y="965"/>
                    </a:lnTo>
                    <a:lnTo>
                      <a:pt x="908" y="969"/>
                    </a:lnTo>
                    <a:lnTo>
                      <a:pt x="920" y="977"/>
                    </a:lnTo>
                    <a:lnTo>
                      <a:pt x="928" y="977"/>
                    </a:lnTo>
                    <a:lnTo>
                      <a:pt x="940" y="977"/>
                    </a:lnTo>
                    <a:lnTo>
                      <a:pt x="952" y="993"/>
                    </a:lnTo>
                    <a:lnTo>
                      <a:pt x="960" y="1005"/>
                    </a:lnTo>
                    <a:lnTo>
                      <a:pt x="968" y="1013"/>
                    </a:lnTo>
                    <a:lnTo>
                      <a:pt x="980" y="1017"/>
                    </a:lnTo>
                    <a:lnTo>
                      <a:pt x="988" y="1029"/>
                    </a:lnTo>
                    <a:lnTo>
                      <a:pt x="992" y="1037"/>
                    </a:lnTo>
                    <a:lnTo>
                      <a:pt x="992" y="1049"/>
                    </a:lnTo>
                    <a:lnTo>
                      <a:pt x="992" y="1066"/>
                    </a:lnTo>
                    <a:lnTo>
                      <a:pt x="980" y="1082"/>
                    </a:lnTo>
                    <a:lnTo>
                      <a:pt x="972" y="1102"/>
                    </a:lnTo>
                    <a:lnTo>
                      <a:pt x="972" y="1114"/>
                    </a:lnTo>
                    <a:lnTo>
                      <a:pt x="968" y="1130"/>
                    </a:lnTo>
                    <a:lnTo>
                      <a:pt x="1009" y="1166"/>
                    </a:lnTo>
                    <a:lnTo>
                      <a:pt x="1045" y="1199"/>
                    </a:lnTo>
                    <a:lnTo>
                      <a:pt x="1053" y="1199"/>
                    </a:lnTo>
                    <a:lnTo>
                      <a:pt x="1061" y="1203"/>
                    </a:lnTo>
                    <a:lnTo>
                      <a:pt x="1077" y="1191"/>
                    </a:lnTo>
                    <a:lnTo>
                      <a:pt x="1097" y="1179"/>
                    </a:lnTo>
                    <a:lnTo>
                      <a:pt x="1101" y="1179"/>
                    </a:lnTo>
                    <a:lnTo>
                      <a:pt x="1109" y="1179"/>
                    </a:lnTo>
                    <a:lnTo>
                      <a:pt x="1117" y="1183"/>
                    </a:lnTo>
                    <a:lnTo>
                      <a:pt x="1121" y="1195"/>
                    </a:lnTo>
                    <a:lnTo>
                      <a:pt x="1134" y="1199"/>
                    </a:lnTo>
                    <a:lnTo>
                      <a:pt x="1138" y="1207"/>
                    </a:lnTo>
                    <a:lnTo>
                      <a:pt x="1146" y="1211"/>
                    </a:lnTo>
                    <a:lnTo>
                      <a:pt x="1146" y="1219"/>
                    </a:lnTo>
                    <a:lnTo>
                      <a:pt x="1158" y="1227"/>
                    </a:lnTo>
                    <a:lnTo>
                      <a:pt x="1174" y="1235"/>
                    </a:lnTo>
                    <a:lnTo>
                      <a:pt x="1190" y="1227"/>
                    </a:lnTo>
                    <a:lnTo>
                      <a:pt x="1198" y="1223"/>
                    </a:lnTo>
                    <a:lnTo>
                      <a:pt x="1210" y="1223"/>
                    </a:lnTo>
                    <a:lnTo>
                      <a:pt x="1218" y="1223"/>
                    </a:lnTo>
                    <a:lnTo>
                      <a:pt x="1222" y="1231"/>
                    </a:lnTo>
                    <a:lnTo>
                      <a:pt x="1230" y="1247"/>
                    </a:lnTo>
                    <a:lnTo>
                      <a:pt x="1226" y="1247"/>
                    </a:lnTo>
                    <a:lnTo>
                      <a:pt x="1226" y="1251"/>
                    </a:lnTo>
                    <a:lnTo>
                      <a:pt x="1230" y="1259"/>
                    </a:lnTo>
                    <a:lnTo>
                      <a:pt x="1243" y="1267"/>
                    </a:lnTo>
                    <a:lnTo>
                      <a:pt x="1247" y="1279"/>
                    </a:lnTo>
                    <a:lnTo>
                      <a:pt x="1251" y="1283"/>
                    </a:lnTo>
                    <a:lnTo>
                      <a:pt x="1247" y="1296"/>
                    </a:lnTo>
                    <a:lnTo>
                      <a:pt x="1247" y="1304"/>
                    </a:lnTo>
                    <a:lnTo>
                      <a:pt x="1234" y="1316"/>
                    </a:lnTo>
                    <a:lnTo>
                      <a:pt x="1226" y="1320"/>
                    </a:lnTo>
                    <a:lnTo>
                      <a:pt x="1226" y="1328"/>
                    </a:lnTo>
                    <a:lnTo>
                      <a:pt x="1226" y="1336"/>
                    </a:lnTo>
                    <a:lnTo>
                      <a:pt x="1222" y="1336"/>
                    </a:lnTo>
                    <a:lnTo>
                      <a:pt x="1218" y="1340"/>
                    </a:lnTo>
                    <a:lnTo>
                      <a:pt x="1218" y="1344"/>
                    </a:lnTo>
                    <a:lnTo>
                      <a:pt x="1218" y="1352"/>
                    </a:lnTo>
                    <a:lnTo>
                      <a:pt x="1226" y="1368"/>
                    </a:lnTo>
                    <a:lnTo>
                      <a:pt x="1230" y="1384"/>
                    </a:lnTo>
                    <a:lnTo>
                      <a:pt x="1230" y="1388"/>
                    </a:lnTo>
                    <a:lnTo>
                      <a:pt x="1230" y="1392"/>
                    </a:lnTo>
                    <a:lnTo>
                      <a:pt x="1230" y="1400"/>
                    </a:lnTo>
                    <a:lnTo>
                      <a:pt x="1226" y="1404"/>
                    </a:lnTo>
                    <a:lnTo>
                      <a:pt x="1202" y="1404"/>
                    </a:lnTo>
                    <a:lnTo>
                      <a:pt x="1182" y="1404"/>
                    </a:lnTo>
                    <a:lnTo>
                      <a:pt x="1150" y="1400"/>
                    </a:lnTo>
                    <a:lnTo>
                      <a:pt x="1117" y="1392"/>
                    </a:lnTo>
                    <a:lnTo>
                      <a:pt x="1073" y="1392"/>
                    </a:lnTo>
                    <a:lnTo>
                      <a:pt x="1033" y="1388"/>
                    </a:lnTo>
                    <a:lnTo>
                      <a:pt x="964" y="1404"/>
                    </a:lnTo>
                    <a:lnTo>
                      <a:pt x="912" y="1417"/>
                    </a:lnTo>
                    <a:lnTo>
                      <a:pt x="900" y="1417"/>
                    </a:lnTo>
                    <a:lnTo>
                      <a:pt x="879" y="1417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20" name="Freeform 28"/>
              <p:cNvSpPr>
                <a:spLocks/>
              </p:cNvSpPr>
              <p:nvPr/>
            </p:nvSpPr>
            <p:spPr bwMode="auto">
              <a:xfrm>
                <a:off x="1690802" y="2294369"/>
                <a:ext cx="6840654" cy="3053078"/>
              </a:xfrm>
              <a:custGeom>
                <a:avLst/>
                <a:gdLst>
                  <a:gd name="T0" fmla="*/ 2147483647 w 7617"/>
                  <a:gd name="T1" fmla="*/ 2147483647 h 3429"/>
                  <a:gd name="T2" fmla="*/ 2147483647 w 7617"/>
                  <a:gd name="T3" fmla="*/ 2147483647 h 3429"/>
                  <a:gd name="T4" fmla="*/ 2147483647 w 7617"/>
                  <a:gd name="T5" fmla="*/ 2147483647 h 3429"/>
                  <a:gd name="T6" fmla="*/ 2147483647 w 7617"/>
                  <a:gd name="T7" fmla="*/ 2147483647 h 3429"/>
                  <a:gd name="T8" fmla="*/ 2147483647 w 7617"/>
                  <a:gd name="T9" fmla="*/ 2147483647 h 3429"/>
                  <a:gd name="T10" fmla="*/ 2147483647 w 7617"/>
                  <a:gd name="T11" fmla="*/ 2147483647 h 3429"/>
                  <a:gd name="T12" fmla="*/ 2147483647 w 7617"/>
                  <a:gd name="T13" fmla="*/ 2147483647 h 3429"/>
                  <a:gd name="T14" fmla="*/ 2147483647 w 7617"/>
                  <a:gd name="T15" fmla="*/ 2147483647 h 3429"/>
                  <a:gd name="T16" fmla="*/ 2147483647 w 7617"/>
                  <a:gd name="T17" fmla="*/ 2147483647 h 3429"/>
                  <a:gd name="T18" fmla="*/ 2147483647 w 7617"/>
                  <a:gd name="T19" fmla="*/ 2147483647 h 3429"/>
                  <a:gd name="T20" fmla="*/ 2147483647 w 7617"/>
                  <a:gd name="T21" fmla="*/ 2147483647 h 3429"/>
                  <a:gd name="T22" fmla="*/ 2147483647 w 7617"/>
                  <a:gd name="T23" fmla="*/ 2147483647 h 3429"/>
                  <a:gd name="T24" fmla="*/ 2147483647 w 7617"/>
                  <a:gd name="T25" fmla="*/ 2147483647 h 3429"/>
                  <a:gd name="T26" fmla="*/ 2147483647 w 7617"/>
                  <a:gd name="T27" fmla="*/ 2147483647 h 3429"/>
                  <a:gd name="T28" fmla="*/ 2147483647 w 7617"/>
                  <a:gd name="T29" fmla="*/ 2147483647 h 3429"/>
                  <a:gd name="T30" fmla="*/ 2147483647 w 7617"/>
                  <a:gd name="T31" fmla="*/ 2147483647 h 3429"/>
                  <a:gd name="T32" fmla="*/ 2147483647 w 7617"/>
                  <a:gd name="T33" fmla="*/ 2147483647 h 3429"/>
                  <a:gd name="T34" fmla="*/ 2147483647 w 7617"/>
                  <a:gd name="T35" fmla="*/ 2147483647 h 3429"/>
                  <a:gd name="T36" fmla="*/ 2147483647 w 7617"/>
                  <a:gd name="T37" fmla="*/ 2147483647 h 3429"/>
                  <a:gd name="T38" fmla="*/ 2147483647 w 7617"/>
                  <a:gd name="T39" fmla="*/ 2147483647 h 3429"/>
                  <a:gd name="T40" fmla="*/ 2147483647 w 7617"/>
                  <a:gd name="T41" fmla="*/ 2147483647 h 3429"/>
                  <a:gd name="T42" fmla="*/ 2147483647 w 7617"/>
                  <a:gd name="T43" fmla="*/ 2147483647 h 3429"/>
                  <a:gd name="T44" fmla="*/ 2147483647 w 7617"/>
                  <a:gd name="T45" fmla="*/ 2147483647 h 3429"/>
                  <a:gd name="T46" fmla="*/ 2147483647 w 7617"/>
                  <a:gd name="T47" fmla="*/ 2147483647 h 3429"/>
                  <a:gd name="T48" fmla="*/ 2147483647 w 7617"/>
                  <a:gd name="T49" fmla="*/ 2147483647 h 3429"/>
                  <a:gd name="T50" fmla="*/ 2147483647 w 7617"/>
                  <a:gd name="T51" fmla="*/ 2147483647 h 3429"/>
                  <a:gd name="T52" fmla="*/ 2147483647 w 7617"/>
                  <a:gd name="T53" fmla="*/ 2147483647 h 3429"/>
                  <a:gd name="T54" fmla="*/ 2147483647 w 7617"/>
                  <a:gd name="T55" fmla="*/ 2147483647 h 3429"/>
                  <a:gd name="T56" fmla="*/ 2147483647 w 7617"/>
                  <a:gd name="T57" fmla="*/ 2147483647 h 3429"/>
                  <a:gd name="T58" fmla="*/ 2147483647 w 7617"/>
                  <a:gd name="T59" fmla="*/ 2147483647 h 3429"/>
                  <a:gd name="T60" fmla="*/ 2147483647 w 7617"/>
                  <a:gd name="T61" fmla="*/ 2147483647 h 3429"/>
                  <a:gd name="T62" fmla="*/ 2147483647 w 7617"/>
                  <a:gd name="T63" fmla="*/ 2147483647 h 3429"/>
                  <a:gd name="T64" fmla="*/ 2147483647 w 7617"/>
                  <a:gd name="T65" fmla="*/ 2147483647 h 3429"/>
                  <a:gd name="T66" fmla="*/ 2147483647 w 7617"/>
                  <a:gd name="T67" fmla="*/ 2147483647 h 3429"/>
                  <a:gd name="T68" fmla="*/ 2147483647 w 7617"/>
                  <a:gd name="T69" fmla="*/ 2147483647 h 3429"/>
                  <a:gd name="T70" fmla="*/ 2147483647 w 7617"/>
                  <a:gd name="T71" fmla="*/ 2147483647 h 3429"/>
                  <a:gd name="T72" fmla="*/ 2147483647 w 7617"/>
                  <a:gd name="T73" fmla="*/ 2147483647 h 3429"/>
                  <a:gd name="T74" fmla="*/ 2147483647 w 7617"/>
                  <a:gd name="T75" fmla="*/ 2147483647 h 3429"/>
                  <a:gd name="T76" fmla="*/ 2147483647 w 7617"/>
                  <a:gd name="T77" fmla="*/ 2147483647 h 3429"/>
                  <a:gd name="T78" fmla="*/ 2147483647 w 7617"/>
                  <a:gd name="T79" fmla="*/ 2147483647 h 3429"/>
                  <a:gd name="T80" fmla="*/ 2147483647 w 7617"/>
                  <a:gd name="T81" fmla="*/ 2147483647 h 3429"/>
                  <a:gd name="T82" fmla="*/ 2147483647 w 7617"/>
                  <a:gd name="T83" fmla="*/ 2147483647 h 3429"/>
                  <a:gd name="T84" fmla="*/ 2147483647 w 7617"/>
                  <a:gd name="T85" fmla="*/ 2147483647 h 3429"/>
                  <a:gd name="T86" fmla="*/ 2147483647 w 7617"/>
                  <a:gd name="T87" fmla="*/ 2147483647 h 3429"/>
                  <a:gd name="T88" fmla="*/ 2147483647 w 7617"/>
                  <a:gd name="T89" fmla="*/ 2147483647 h 3429"/>
                  <a:gd name="T90" fmla="*/ 2147483647 w 7617"/>
                  <a:gd name="T91" fmla="*/ 2147483647 h 3429"/>
                  <a:gd name="T92" fmla="*/ 2147483647 w 7617"/>
                  <a:gd name="T93" fmla="*/ 2147483647 h 3429"/>
                  <a:gd name="T94" fmla="*/ 2147483647 w 7617"/>
                  <a:gd name="T95" fmla="*/ 2147483647 h 3429"/>
                  <a:gd name="T96" fmla="*/ 2147483647 w 7617"/>
                  <a:gd name="T97" fmla="*/ 2147483647 h 3429"/>
                  <a:gd name="T98" fmla="*/ 2147483647 w 7617"/>
                  <a:gd name="T99" fmla="*/ 2147483647 h 3429"/>
                  <a:gd name="T100" fmla="*/ 2147483647 w 7617"/>
                  <a:gd name="T101" fmla="*/ 2147483647 h 3429"/>
                  <a:gd name="T102" fmla="*/ 2147483647 w 7617"/>
                  <a:gd name="T103" fmla="*/ 2147483647 h 3429"/>
                  <a:gd name="T104" fmla="*/ 2147483647 w 7617"/>
                  <a:gd name="T105" fmla="*/ 2147483647 h 3429"/>
                  <a:gd name="T106" fmla="*/ 2147483647 w 7617"/>
                  <a:gd name="T107" fmla="*/ 2147483647 h 3429"/>
                  <a:gd name="T108" fmla="*/ 2147483647 w 7617"/>
                  <a:gd name="T109" fmla="*/ 2147483647 h 3429"/>
                  <a:gd name="T110" fmla="*/ 2147483647 w 7617"/>
                  <a:gd name="T111" fmla="*/ 2147483647 h 3429"/>
                  <a:gd name="T112" fmla="*/ 2147483647 w 7617"/>
                  <a:gd name="T113" fmla="*/ 2147483647 h 3429"/>
                  <a:gd name="T114" fmla="*/ 2147483647 w 7617"/>
                  <a:gd name="T115" fmla="*/ 2147483647 h 3429"/>
                  <a:gd name="T116" fmla="*/ 2147483647 w 7617"/>
                  <a:gd name="T117" fmla="*/ 2147483647 h 3429"/>
                  <a:gd name="T118" fmla="*/ 2147483647 w 7617"/>
                  <a:gd name="T119" fmla="*/ 2147483647 h 3429"/>
                  <a:gd name="T120" fmla="*/ 2147483647 w 7617"/>
                  <a:gd name="T121" fmla="*/ 2147483647 h 3429"/>
                  <a:gd name="T122" fmla="*/ 2147483647 w 7617"/>
                  <a:gd name="T123" fmla="*/ 2147483647 h 342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617"/>
                  <a:gd name="T187" fmla="*/ 0 h 3429"/>
                  <a:gd name="T188" fmla="*/ 7617 w 7617"/>
                  <a:gd name="T189" fmla="*/ 3429 h 342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617" h="3429">
                    <a:moveTo>
                      <a:pt x="93" y="3429"/>
                    </a:moveTo>
                    <a:lnTo>
                      <a:pt x="85" y="3429"/>
                    </a:lnTo>
                    <a:lnTo>
                      <a:pt x="69" y="3429"/>
                    </a:lnTo>
                    <a:lnTo>
                      <a:pt x="53" y="3425"/>
                    </a:lnTo>
                    <a:lnTo>
                      <a:pt x="45" y="3421"/>
                    </a:lnTo>
                    <a:lnTo>
                      <a:pt x="37" y="3409"/>
                    </a:lnTo>
                    <a:lnTo>
                      <a:pt x="33" y="3401"/>
                    </a:lnTo>
                    <a:lnTo>
                      <a:pt x="33" y="3397"/>
                    </a:lnTo>
                    <a:lnTo>
                      <a:pt x="33" y="3389"/>
                    </a:lnTo>
                    <a:lnTo>
                      <a:pt x="33" y="3385"/>
                    </a:lnTo>
                    <a:lnTo>
                      <a:pt x="37" y="3385"/>
                    </a:lnTo>
                    <a:lnTo>
                      <a:pt x="37" y="3365"/>
                    </a:lnTo>
                    <a:lnTo>
                      <a:pt x="37" y="3353"/>
                    </a:lnTo>
                    <a:lnTo>
                      <a:pt x="49" y="3353"/>
                    </a:lnTo>
                    <a:lnTo>
                      <a:pt x="57" y="3353"/>
                    </a:lnTo>
                    <a:lnTo>
                      <a:pt x="61" y="3349"/>
                    </a:lnTo>
                    <a:lnTo>
                      <a:pt x="69" y="3345"/>
                    </a:lnTo>
                    <a:lnTo>
                      <a:pt x="77" y="3341"/>
                    </a:lnTo>
                    <a:lnTo>
                      <a:pt x="89" y="3337"/>
                    </a:lnTo>
                    <a:lnTo>
                      <a:pt x="93" y="3325"/>
                    </a:lnTo>
                    <a:lnTo>
                      <a:pt x="101" y="3317"/>
                    </a:lnTo>
                    <a:lnTo>
                      <a:pt x="105" y="3312"/>
                    </a:lnTo>
                    <a:lnTo>
                      <a:pt x="113" y="3308"/>
                    </a:lnTo>
                    <a:lnTo>
                      <a:pt x="130" y="3304"/>
                    </a:lnTo>
                    <a:lnTo>
                      <a:pt x="138" y="3300"/>
                    </a:lnTo>
                    <a:lnTo>
                      <a:pt x="202" y="3300"/>
                    </a:lnTo>
                    <a:lnTo>
                      <a:pt x="267" y="3296"/>
                    </a:lnTo>
                    <a:lnTo>
                      <a:pt x="267" y="3300"/>
                    </a:lnTo>
                    <a:lnTo>
                      <a:pt x="319" y="3317"/>
                    </a:lnTo>
                    <a:lnTo>
                      <a:pt x="351" y="3325"/>
                    </a:lnTo>
                    <a:lnTo>
                      <a:pt x="368" y="3333"/>
                    </a:lnTo>
                    <a:lnTo>
                      <a:pt x="388" y="3341"/>
                    </a:lnTo>
                    <a:lnTo>
                      <a:pt x="424" y="3341"/>
                    </a:lnTo>
                    <a:lnTo>
                      <a:pt x="452" y="3345"/>
                    </a:lnTo>
                    <a:lnTo>
                      <a:pt x="489" y="3365"/>
                    </a:lnTo>
                    <a:lnTo>
                      <a:pt x="505" y="3373"/>
                    </a:lnTo>
                    <a:lnTo>
                      <a:pt x="521" y="3373"/>
                    </a:lnTo>
                    <a:lnTo>
                      <a:pt x="537" y="3373"/>
                    </a:lnTo>
                    <a:lnTo>
                      <a:pt x="545" y="3365"/>
                    </a:lnTo>
                    <a:lnTo>
                      <a:pt x="553" y="3365"/>
                    </a:lnTo>
                    <a:lnTo>
                      <a:pt x="553" y="3361"/>
                    </a:lnTo>
                    <a:lnTo>
                      <a:pt x="557" y="3361"/>
                    </a:lnTo>
                    <a:lnTo>
                      <a:pt x="557" y="3317"/>
                    </a:lnTo>
                    <a:lnTo>
                      <a:pt x="557" y="3276"/>
                    </a:lnTo>
                    <a:lnTo>
                      <a:pt x="561" y="3260"/>
                    </a:lnTo>
                    <a:lnTo>
                      <a:pt x="561" y="3244"/>
                    </a:lnTo>
                    <a:lnTo>
                      <a:pt x="561" y="3236"/>
                    </a:lnTo>
                    <a:lnTo>
                      <a:pt x="557" y="3220"/>
                    </a:lnTo>
                    <a:lnTo>
                      <a:pt x="549" y="3216"/>
                    </a:lnTo>
                    <a:lnTo>
                      <a:pt x="545" y="3208"/>
                    </a:lnTo>
                    <a:lnTo>
                      <a:pt x="541" y="3195"/>
                    </a:lnTo>
                    <a:lnTo>
                      <a:pt x="537" y="3195"/>
                    </a:lnTo>
                    <a:lnTo>
                      <a:pt x="537" y="3155"/>
                    </a:lnTo>
                    <a:lnTo>
                      <a:pt x="537" y="3119"/>
                    </a:lnTo>
                    <a:lnTo>
                      <a:pt x="545" y="3099"/>
                    </a:lnTo>
                    <a:lnTo>
                      <a:pt x="545" y="3083"/>
                    </a:lnTo>
                    <a:lnTo>
                      <a:pt x="549" y="3083"/>
                    </a:lnTo>
                    <a:lnTo>
                      <a:pt x="553" y="3083"/>
                    </a:lnTo>
                    <a:lnTo>
                      <a:pt x="553" y="3062"/>
                    </a:lnTo>
                    <a:lnTo>
                      <a:pt x="561" y="3050"/>
                    </a:lnTo>
                    <a:lnTo>
                      <a:pt x="573" y="3042"/>
                    </a:lnTo>
                    <a:lnTo>
                      <a:pt x="581" y="3022"/>
                    </a:lnTo>
                    <a:lnTo>
                      <a:pt x="589" y="3014"/>
                    </a:lnTo>
                    <a:lnTo>
                      <a:pt x="593" y="3006"/>
                    </a:lnTo>
                    <a:lnTo>
                      <a:pt x="593" y="3002"/>
                    </a:lnTo>
                    <a:lnTo>
                      <a:pt x="602" y="2998"/>
                    </a:lnTo>
                    <a:lnTo>
                      <a:pt x="606" y="2978"/>
                    </a:lnTo>
                    <a:lnTo>
                      <a:pt x="614" y="2961"/>
                    </a:lnTo>
                    <a:lnTo>
                      <a:pt x="626" y="2949"/>
                    </a:lnTo>
                    <a:lnTo>
                      <a:pt x="634" y="2937"/>
                    </a:lnTo>
                    <a:lnTo>
                      <a:pt x="638" y="2925"/>
                    </a:lnTo>
                    <a:lnTo>
                      <a:pt x="646" y="2917"/>
                    </a:lnTo>
                    <a:lnTo>
                      <a:pt x="662" y="2893"/>
                    </a:lnTo>
                    <a:lnTo>
                      <a:pt x="666" y="2885"/>
                    </a:lnTo>
                    <a:lnTo>
                      <a:pt x="666" y="2861"/>
                    </a:lnTo>
                    <a:lnTo>
                      <a:pt x="666" y="2824"/>
                    </a:lnTo>
                    <a:lnTo>
                      <a:pt x="678" y="2824"/>
                    </a:lnTo>
                    <a:lnTo>
                      <a:pt x="682" y="2812"/>
                    </a:lnTo>
                    <a:lnTo>
                      <a:pt x="682" y="2804"/>
                    </a:lnTo>
                    <a:lnTo>
                      <a:pt x="682" y="2796"/>
                    </a:lnTo>
                    <a:lnTo>
                      <a:pt x="678" y="2796"/>
                    </a:lnTo>
                    <a:lnTo>
                      <a:pt x="666" y="2792"/>
                    </a:lnTo>
                    <a:lnTo>
                      <a:pt x="666" y="2776"/>
                    </a:lnTo>
                    <a:lnTo>
                      <a:pt x="666" y="2764"/>
                    </a:lnTo>
                    <a:lnTo>
                      <a:pt x="658" y="2756"/>
                    </a:lnTo>
                    <a:lnTo>
                      <a:pt x="642" y="2748"/>
                    </a:lnTo>
                    <a:lnTo>
                      <a:pt x="638" y="2723"/>
                    </a:lnTo>
                    <a:lnTo>
                      <a:pt x="634" y="2695"/>
                    </a:lnTo>
                    <a:lnTo>
                      <a:pt x="630" y="2695"/>
                    </a:lnTo>
                    <a:lnTo>
                      <a:pt x="626" y="2691"/>
                    </a:lnTo>
                    <a:lnTo>
                      <a:pt x="622" y="2679"/>
                    </a:lnTo>
                    <a:lnTo>
                      <a:pt x="614" y="2671"/>
                    </a:lnTo>
                    <a:lnTo>
                      <a:pt x="614" y="2639"/>
                    </a:lnTo>
                    <a:lnTo>
                      <a:pt x="614" y="2606"/>
                    </a:lnTo>
                    <a:lnTo>
                      <a:pt x="626" y="2558"/>
                    </a:lnTo>
                    <a:lnTo>
                      <a:pt x="634" y="2510"/>
                    </a:lnTo>
                    <a:lnTo>
                      <a:pt x="634" y="2502"/>
                    </a:lnTo>
                    <a:lnTo>
                      <a:pt x="638" y="2498"/>
                    </a:lnTo>
                    <a:lnTo>
                      <a:pt x="642" y="2485"/>
                    </a:lnTo>
                    <a:lnTo>
                      <a:pt x="646" y="2469"/>
                    </a:lnTo>
                    <a:lnTo>
                      <a:pt x="654" y="2465"/>
                    </a:lnTo>
                    <a:lnTo>
                      <a:pt x="662" y="2461"/>
                    </a:lnTo>
                    <a:lnTo>
                      <a:pt x="666" y="2453"/>
                    </a:lnTo>
                    <a:lnTo>
                      <a:pt x="678" y="2437"/>
                    </a:lnTo>
                    <a:lnTo>
                      <a:pt x="694" y="2425"/>
                    </a:lnTo>
                    <a:lnTo>
                      <a:pt x="706" y="2405"/>
                    </a:lnTo>
                    <a:lnTo>
                      <a:pt x="723" y="2405"/>
                    </a:lnTo>
                    <a:lnTo>
                      <a:pt x="743" y="2405"/>
                    </a:lnTo>
                    <a:lnTo>
                      <a:pt x="759" y="2389"/>
                    </a:lnTo>
                    <a:lnTo>
                      <a:pt x="767" y="2385"/>
                    </a:lnTo>
                    <a:lnTo>
                      <a:pt x="775" y="2376"/>
                    </a:lnTo>
                    <a:lnTo>
                      <a:pt x="787" y="2368"/>
                    </a:lnTo>
                    <a:lnTo>
                      <a:pt x="803" y="2364"/>
                    </a:lnTo>
                    <a:lnTo>
                      <a:pt x="819" y="2360"/>
                    </a:lnTo>
                    <a:lnTo>
                      <a:pt x="852" y="2340"/>
                    </a:lnTo>
                    <a:lnTo>
                      <a:pt x="876" y="2316"/>
                    </a:lnTo>
                    <a:lnTo>
                      <a:pt x="900" y="2300"/>
                    </a:lnTo>
                    <a:lnTo>
                      <a:pt x="924" y="2292"/>
                    </a:lnTo>
                    <a:lnTo>
                      <a:pt x="928" y="2280"/>
                    </a:lnTo>
                    <a:lnTo>
                      <a:pt x="936" y="2272"/>
                    </a:lnTo>
                    <a:lnTo>
                      <a:pt x="948" y="2268"/>
                    </a:lnTo>
                    <a:lnTo>
                      <a:pt x="965" y="2259"/>
                    </a:lnTo>
                    <a:lnTo>
                      <a:pt x="977" y="2259"/>
                    </a:lnTo>
                    <a:lnTo>
                      <a:pt x="993" y="2259"/>
                    </a:lnTo>
                    <a:lnTo>
                      <a:pt x="1005" y="2251"/>
                    </a:lnTo>
                    <a:lnTo>
                      <a:pt x="1025" y="2243"/>
                    </a:lnTo>
                    <a:lnTo>
                      <a:pt x="1033" y="2243"/>
                    </a:lnTo>
                    <a:lnTo>
                      <a:pt x="1045" y="2235"/>
                    </a:lnTo>
                    <a:lnTo>
                      <a:pt x="1049" y="2231"/>
                    </a:lnTo>
                    <a:lnTo>
                      <a:pt x="1053" y="2227"/>
                    </a:lnTo>
                    <a:lnTo>
                      <a:pt x="1061" y="2223"/>
                    </a:lnTo>
                    <a:lnTo>
                      <a:pt x="1074" y="2219"/>
                    </a:lnTo>
                    <a:lnTo>
                      <a:pt x="1086" y="2199"/>
                    </a:lnTo>
                    <a:lnTo>
                      <a:pt x="1106" y="2179"/>
                    </a:lnTo>
                    <a:lnTo>
                      <a:pt x="1126" y="2171"/>
                    </a:lnTo>
                    <a:lnTo>
                      <a:pt x="1142" y="2159"/>
                    </a:lnTo>
                    <a:lnTo>
                      <a:pt x="1150" y="2155"/>
                    </a:lnTo>
                    <a:lnTo>
                      <a:pt x="1162" y="2151"/>
                    </a:lnTo>
                    <a:lnTo>
                      <a:pt x="1191" y="2151"/>
                    </a:lnTo>
                    <a:lnTo>
                      <a:pt x="1207" y="2151"/>
                    </a:lnTo>
                    <a:lnTo>
                      <a:pt x="1211" y="2155"/>
                    </a:lnTo>
                    <a:lnTo>
                      <a:pt x="1219" y="2159"/>
                    </a:lnTo>
                    <a:lnTo>
                      <a:pt x="1227" y="2159"/>
                    </a:lnTo>
                    <a:lnTo>
                      <a:pt x="1239" y="2159"/>
                    </a:lnTo>
                    <a:lnTo>
                      <a:pt x="1251" y="2147"/>
                    </a:lnTo>
                    <a:lnTo>
                      <a:pt x="1263" y="2130"/>
                    </a:lnTo>
                    <a:lnTo>
                      <a:pt x="1259" y="2098"/>
                    </a:lnTo>
                    <a:lnTo>
                      <a:pt x="1259" y="2062"/>
                    </a:lnTo>
                    <a:lnTo>
                      <a:pt x="1243" y="2046"/>
                    </a:lnTo>
                    <a:lnTo>
                      <a:pt x="1211" y="2021"/>
                    </a:lnTo>
                    <a:lnTo>
                      <a:pt x="1211" y="2013"/>
                    </a:lnTo>
                    <a:lnTo>
                      <a:pt x="1211" y="2009"/>
                    </a:lnTo>
                    <a:lnTo>
                      <a:pt x="1199" y="2001"/>
                    </a:lnTo>
                    <a:lnTo>
                      <a:pt x="1191" y="1997"/>
                    </a:lnTo>
                    <a:lnTo>
                      <a:pt x="1174" y="1997"/>
                    </a:lnTo>
                    <a:lnTo>
                      <a:pt x="1158" y="1997"/>
                    </a:lnTo>
                    <a:lnTo>
                      <a:pt x="1150" y="1989"/>
                    </a:lnTo>
                    <a:lnTo>
                      <a:pt x="1146" y="1989"/>
                    </a:lnTo>
                    <a:lnTo>
                      <a:pt x="1142" y="1977"/>
                    </a:lnTo>
                    <a:lnTo>
                      <a:pt x="1142" y="1965"/>
                    </a:lnTo>
                    <a:lnTo>
                      <a:pt x="1138" y="1961"/>
                    </a:lnTo>
                    <a:lnTo>
                      <a:pt x="1126" y="1913"/>
                    </a:lnTo>
                    <a:lnTo>
                      <a:pt x="1106" y="1868"/>
                    </a:lnTo>
                    <a:lnTo>
                      <a:pt x="1094" y="1852"/>
                    </a:lnTo>
                    <a:lnTo>
                      <a:pt x="1086" y="1828"/>
                    </a:lnTo>
                    <a:lnTo>
                      <a:pt x="1086" y="1812"/>
                    </a:lnTo>
                    <a:lnTo>
                      <a:pt x="1086" y="1796"/>
                    </a:lnTo>
                    <a:lnTo>
                      <a:pt x="1069" y="1763"/>
                    </a:lnTo>
                    <a:lnTo>
                      <a:pt x="1057" y="1747"/>
                    </a:lnTo>
                    <a:lnTo>
                      <a:pt x="1049" y="1743"/>
                    </a:lnTo>
                    <a:lnTo>
                      <a:pt x="1045" y="1743"/>
                    </a:lnTo>
                    <a:lnTo>
                      <a:pt x="1041" y="1735"/>
                    </a:lnTo>
                    <a:lnTo>
                      <a:pt x="1041" y="1727"/>
                    </a:lnTo>
                    <a:lnTo>
                      <a:pt x="1029" y="1723"/>
                    </a:lnTo>
                    <a:lnTo>
                      <a:pt x="1025" y="1723"/>
                    </a:lnTo>
                    <a:lnTo>
                      <a:pt x="1021" y="1711"/>
                    </a:lnTo>
                    <a:lnTo>
                      <a:pt x="1013" y="1707"/>
                    </a:lnTo>
                    <a:lnTo>
                      <a:pt x="997" y="1687"/>
                    </a:lnTo>
                    <a:lnTo>
                      <a:pt x="977" y="1670"/>
                    </a:lnTo>
                    <a:lnTo>
                      <a:pt x="969" y="1658"/>
                    </a:lnTo>
                    <a:lnTo>
                      <a:pt x="961" y="1646"/>
                    </a:lnTo>
                    <a:lnTo>
                      <a:pt x="948" y="1638"/>
                    </a:lnTo>
                    <a:lnTo>
                      <a:pt x="940" y="1630"/>
                    </a:lnTo>
                    <a:lnTo>
                      <a:pt x="940" y="1622"/>
                    </a:lnTo>
                    <a:lnTo>
                      <a:pt x="940" y="1618"/>
                    </a:lnTo>
                    <a:lnTo>
                      <a:pt x="932" y="1614"/>
                    </a:lnTo>
                    <a:lnTo>
                      <a:pt x="924" y="1606"/>
                    </a:lnTo>
                    <a:lnTo>
                      <a:pt x="916" y="1598"/>
                    </a:lnTo>
                    <a:lnTo>
                      <a:pt x="912" y="1590"/>
                    </a:lnTo>
                    <a:lnTo>
                      <a:pt x="908" y="1582"/>
                    </a:lnTo>
                    <a:lnTo>
                      <a:pt x="900" y="1570"/>
                    </a:lnTo>
                    <a:lnTo>
                      <a:pt x="892" y="1562"/>
                    </a:lnTo>
                    <a:lnTo>
                      <a:pt x="888" y="1553"/>
                    </a:lnTo>
                    <a:lnTo>
                      <a:pt x="888" y="1517"/>
                    </a:lnTo>
                    <a:lnTo>
                      <a:pt x="888" y="1481"/>
                    </a:lnTo>
                    <a:lnTo>
                      <a:pt x="892" y="1465"/>
                    </a:lnTo>
                    <a:lnTo>
                      <a:pt x="900" y="1449"/>
                    </a:lnTo>
                    <a:lnTo>
                      <a:pt x="900" y="1440"/>
                    </a:lnTo>
                    <a:lnTo>
                      <a:pt x="908" y="1436"/>
                    </a:lnTo>
                    <a:lnTo>
                      <a:pt x="908" y="1396"/>
                    </a:lnTo>
                    <a:lnTo>
                      <a:pt x="900" y="1360"/>
                    </a:lnTo>
                    <a:lnTo>
                      <a:pt x="892" y="1360"/>
                    </a:lnTo>
                    <a:lnTo>
                      <a:pt x="888" y="1364"/>
                    </a:lnTo>
                    <a:lnTo>
                      <a:pt x="888" y="1356"/>
                    </a:lnTo>
                    <a:lnTo>
                      <a:pt x="884" y="1348"/>
                    </a:lnTo>
                    <a:lnTo>
                      <a:pt x="880" y="1344"/>
                    </a:lnTo>
                    <a:lnTo>
                      <a:pt x="876" y="1340"/>
                    </a:lnTo>
                    <a:lnTo>
                      <a:pt x="872" y="1323"/>
                    </a:lnTo>
                    <a:lnTo>
                      <a:pt x="864" y="1311"/>
                    </a:lnTo>
                    <a:lnTo>
                      <a:pt x="860" y="1303"/>
                    </a:lnTo>
                    <a:lnTo>
                      <a:pt x="856" y="1295"/>
                    </a:lnTo>
                    <a:lnTo>
                      <a:pt x="852" y="1279"/>
                    </a:lnTo>
                    <a:lnTo>
                      <a:pt x="848" y="1271"/>
                    </a:lnTo>
                    <a:lnTo>
                      <a:pt x="836" y="1259"/>
                    </a:lnTo>
                    <a:lnTo>
                      <a:pt x="827" y="1255"/>
                    </a:lnTo>
                    <a:lnTo>
                      <a:pt x="827" y="1235"/>
                    </a:lnTo>
                    <a:lnTo>
                      <a:pt x="823" y="1219"/>
                    </a:lnTo>
                    <a:lnTo>
                      <a:pt x="819" y="1211"/>
                    </a:lnTo>
                    <a:lnTo>
                      <a:pt x="811" y="1202"/>
                    </a:lnTo>
                    <a:lnTo>
                      <a:pt x="807" y="1182"/>
                    </a:lnTo>
                    <a:lnTo>
                      <a:pt x="803" y="1154"/>
                    </a:lnTo>
                    <a:lnTo>
                      <a:pt x="799" y="1142"/>
                    </a:lnTo>
                    <a:lnTo>
                      <a:pt x="795" y="1130"/>
                    </a:lnTo>
                    <a:lnTo>
                      <a:pt x="795" y="1122"/>
                    </a:lnTo>
                    <a:lnTo>
                      <a:pt x="795" y="1110"/>
                    </a:lnTo>
                    <a:lnTo>
                      <a:pt x="787" y="1110"/>
                    </a:lnTo>
                    <a:lnTo>
                      <a:pt x="771" y="1106"/>
                    </a:lnTo>
                    <a:lnTo>
                      <a:pt x="767" y="1077"/>
                    </a:lnTo>
                    <a:lnTo>
                      <a:pt x="759" y="1053"/>
                    </a:lnTo>
                    <a:lnTo>
                      <a:pt x="759" y="1033"/>
                    </a:lnTo>
                    <a:lnTo>
                      <a:pt x="759" y="1017"/>
                    </a:lnTo>
                    <a:lnTo>
                      <a:pt x="767" y="997"/>
                    </a:lnTo>
                    <a:lnTo>
                      <a:pt x="775" y="985"/>
                    </a:lnTo>
                    <a:lnTo>
                      <a:pt x="783" y="977"/>
                    </a:lnTo>
                    <a:lnTo>
                      <a:pt x="787" y="977"/>
                    </a:lnTo>
                    <a:lnTo>
                      <a:pt x="787" y="968"/>
                    </a:lnTo>
                    <a:lnTo>
                      <a:pt x="787" y="964"/>
                    </a:lnTo>
                    <a:lnTo>
                      <a:pt x="787" y="940"/>
                    </a:lnTo>
                    <a:lnTo>
                      <a:pt x="787" y="908"/>
                    </a:lnTo>
                    <a:lnTo>
                      <a:pt x="799" y="896"/>
                    </a:lnTo>
                    <a:lnTo>
                      <a:pt x="803" y="884"/>
                    </a:lnTo>
                    <a:lnTo>
                      <a:pt x="819" y="843"/>
                    </a:lnTo>
                    <a:lnTo>
                      <a:pt x="823" y="827"/>
                    </a:lnTo>
                    <a:lnTo>
                      <a:pt x="827" y="815"/>
                    </a:lnTo>
                    <a:lnTo>
                      <a:pt x="827" y="795"/>
                    </a:lnTo>
                    <a:lnTo>
                      <a:pt x="827" y="775"/>
                    </a:lnTo>
                    <a:lnTo>
                      <a:pt x="827" y="751"/>
                    </a:lnTo>
                    <a:lnTo>
                      <a:pt x="811" y="734"/>
                    </a:lnTo>
                    <a:lnTo>
                      <a:pt x="799" y="718"/>
                    </a:lnTo>
                    <a:lnTo>
                      <a:pt x="767" y="706"/>
                    </a:lnTo>
                    <a:lnTo>
                      <a:pt x="739" y="698"/>
                    </a:lnTo>
                    <a:lnTo>
                      <a:pt x="674" y="698"/>
                    </a:lnTo>
                    <a:lnTo>
                      <a:pt x="606" y="694"/>
                    </a:lnTo>
                    <a:lnTo>
                      <a:pt x="557" y="702"/>
                    </a:lnTo>
                    <a:lnTo>
                      <a:pt x="537" y="702"/>
                    </a:lnTo>
                    <a:lnTo>
                      <a:pt x="525" y="702"/>
                    </a:lnTo>
                    <a:lnTo>
                      <a:pt x="517" y="698"/>
                    </a:lnTo>
                    <a:lnTo>
                      <a:pt x="501" y="698"/>
                    </a:lnTo>
                    <a:lnTo>
                      <a:pt x="485" y="698"/>
                    </a:lnTo>
                    <a:lnTo>
                      <a:pt x="476" y="706"/>
                    </a:lnTo>
                    <a:lnTo>
                      <a:pt x="464" y="710"/>
                    </a:lnTo>
                    <a:lnTo>
                      <a:pt x="464" y="751"/>
                    </a:lnTo>
                    <a:lnTo>
                      <a:pt x="464" y="795"/>
                    </a:lnTo>
                    <a:lnTo>
                      <a:pt x="440" y="815"/>
                    </a:lnTo>
                    <a:lnTo>
                      <a:pt x="428" y="831"/>
                    </a:lnTo>
                    <a:lnTo>
                      <a:pt x="400" y="831"/>
                    </a:lnTo>
                    <a:lnTo>
                      <a:pt x="368" y="831"/>
                    </a:lnTo>
                    <a:lnTo>
                      <a:pt x="355" y="831"/>
                    </a:lnTo>
                    <a:lnTo>
                      <a:pt x="343" y="831"/>
                    </a:lnTo>
                    <a:lnTo>
                      <a:pt x="343" y="827"/>
                    </a:lnTo>
                    <a:lnTo>
                      <a:pt x="335" y="827"/>
                    </a:lnTo>
                    <a:lnTo>
                      <a:pt x="327" y="827"/>
                    </a:lnTo>
                    <a:lnTo>
                      <a:pt x="319" y="827"/>
                    </a:lnTo>
                    <a:lnTo>
                      <a:pt x="299" y="835"/>
                    </a:lnTo>
                    <a:lnTo>
                      <a:pt x="295" y="847"/>
                    </a:lnTo>
                    <a:lnTo>
                      <a:pt x="295" y="851"/>
                    </a:lnTo>
                    <a:lnTo>
                      <a:pt x="299" y="855"/>
                    </a:lnTo>
                    <a:lnTo>
                      <a:pt x="287" y="855"/>
                    </a:lnTo>
                    <a:lnTo>
                      <a:pt x="267" y="855"/>
                    </a:lnTo>
                    <a:lnTo>
                      <a:pt x="267" y="835"/>
                    </a:lnTo>
                    <a:lnTo>
                      <a:pt x="267" y="823"/>
                    </a:lnTo>
                    <a:lnTo>
                      <a:pt x="263" y="815"/>
                    </a:lnTo>
                    <a:lnTo>
                      <a:pt x="263" y="811"/>
                    </a:lnTo>
                    <a:lnTo>
                      <a:pt x="255" y="811"/>
                    </a:lnTo>
                    <a:lnTo>
                      <a:pt x="255" y="795"/>
                    </a:lnTo>
                    <a:lnTo>
                      <a:pt x="263" y="775"/>
                    </a:lnTo>
                    <a:lnTo>
                      <a:pt x="271" y="771"/>
                    </a:lnTo>
                    <a:lnTo>
                      <a:pt x="283" y="759"/>
                    </a:lnTo>
                    <a:lnTo>
                      <a:pt x="299" y="755"/>
                    </a:lnTo>
                    <a:lnTo>
                      <a:pt x="315" y="751"/>
                    </a:lnTo>
                    <a:lnTo>
                      <a:pt x="327" y="751"/>
                    </a:lnTo>
                    <a:lnTo>
                      <a:pt x="347" y="751"/>
                    </a:lnTo>
                    <a:lnTo>
                      <a:pt x="355" y="747"/>
                    </a:lnTo>
                    <a:lnTo>
                      <a:pt x="368" y="734"/>
                    </a:lnTo>
                    <a:lnTo>
                      <a:pt x="368" y="730"/>
                    </a:lnTo>
                    <a:lnTo>
                      <a:pt x="368" y="718"/>
                    </a:lnTo>
                    <a:lnTo>
                      <a:pt x="364" y="710"/>
                    </a:lnTo>
                    <a:lnTo>
                      <a:pt x="319" y="682"/>
                    </a:lnTo>
                    <a:lnTo>
                      <a:pt x="291" y="658"/>
                    </a:lnTo>
                    <a:lnTo>
                      <a:pt x="279" y="654"/>
                    </a:lnTo>
                    <a:lnTo>
                      <a:pt x="267" y="650"/>
                    </a:lnTo>
                    <a:lnTo>
                      <a:pt x="218" y="646"/>
                    </a:lnTo>
                    <a:lnTo>
                      <a:pt x="174" y="634"/>
                    </a:lnTo>
                    <a:lnTo>
                      <a:pt x="150" y="630"/>
                    </a:lnTo>
                    <a:lnTo>
                      <a:pt x="126" y="621"/>
                    </a:lnTo>
                    <a:lnTo>
                      <a:pt x="121" y="617"/>
                    </a:lnTo>
                    <a:lnTo>
                      <a:pt x="109" y="617"/>
                    </a:lnTo>
                    <a:lnTo>
                      <a:pt x="97" y="613"/>
                    </a:lnTo>
                    <a:lnTo>
                      <a:pt x="25" y="613"/>
                    </a:lnTo>
                    <a:lnTo>
                      <a:pt x="9" y="613"/>
                    </a:lnTo>
                    <a:lnTo>
                      <a:pt x="9" y="605"/>
                    </a:lnTo>
                    <a:lnTo>
                      <a:pt x="0" y="589"/>
                    </a:lnTo>
                    <a:lnTo>
                      <a:pt x="13" y="569"/>
                    </a:lnTo>
                    <a:lnTo>
                      <a:pt x="17" y="549"/>
                    </a:lnTo>
                    <a:lnTo>
                      <a:pt x="37" y="533"/>
                    </a:lnTo>
                    <a:lnTo>
                      <a:pt x="49" y="517"/>
                    </a:lnTo>
                    <a:lnTo>
                      <a:pt x="101" y="517"/>
                    </a:lnTo>
                    <a:lnTo>
                      <a:pt x="154" y="517"/>
                    </a:lnTo>
                    <a:lnTo>
                      <a:pt x="158" y="525"/>
                    </a:lnTo>
                    <a:lnTo>
                      <a:pt x="162" y="529"/>
                    </a:lnTo>
                    <a:lnTo>
                      <a:pt x="247" y="549"/>
                    </a:lnTo>
                    <a:lnTo>
                      <a:pt x="267" y="549"/>
                    </a:lnTo>
                    <a:lnTo>
                      <a:pt x="303" y="553"/>
                    </a:lnTo>
                    <a:lnTo>
                      <a:pt x="343" y="553"/>
                    </a:lnTo>
                    <a:lnTo>
                      <a:pt x="384" y="569"/>
                    </a:lnTo>
                    <a:lnTo>
                      <a:pt x="428" y="577"/>
                    </a:lnTo>
                    <a:lnTo>
                      <a:pt x="432" y="577"/>
                    </a:lnTo>
                    <a:lnTo>
                      <a:pt x="436" y="581"/>
                    </a:lnTo>
                    <a:lnTo>
                      <a:pt x="444" y="585"/>
                    </a:lnTo>
                    <a:lnTo>
                      <a:pt x="452" y="585"/>
                    </a:lnTo>
                    <a:lnTo>
                      <a:pt x="529" y="589"/>
                    </a:lnTo>
                    <a:lnTo>
                      <a:pt x="553" y="597"/>
                    </a:lnTo>
                    <a:lnTo>
                      <a:pt x="557" y="601"/>
                    </a:lnTo>
                    <a:lnTo>
                      <a:pt x="577" y="601"/>
                    </a:lnTo>
                    <a:lnTo>
                      <a:pt x="593" y="605"/>
                    </a:lnTo>
                    <a:lnTo>
                      <a:pt x="614" y="609"/>
                    </a:lnTo>
                    <a:lnTo>
                      <a:pt x="634" y="613"/>
                    </a:lnTo>
                    <a:lnTo>
                      <a:pt x="634" y="617"/>
                    </a:lnTo>
                    <a:lnTo>
                      <a:pt x="634" y="626"/>
                    </a:lnTo>
                    <a:lnTo>
                      <a:pt x="642" y="626"/>
                    </a:lnTo>
                    <a:lnTo>
                      <a:pt x="654" y="626"/>
                    </a:lnTo>
                    <a:lnTo>
                      <a:pt x="666" y="630"/>
                    </a:lnTo>
                    <a:lnTo>
                      <a:pt x="682" y="634"/>
                    </a:lnTo>
                    <a:lnTo>
                      <a:pt x="731" y="642"/>
                    </a:lnTo>
                    <a:lnTo>
                      <a:pt x="775" y="642"/>
                    </a:lnTo>
                    <a:lnTo>
                      <a:pt x="787" y="646"/>
                    </a:lnTo>
                    <a:lnTo>
                      <a:pt x="836" y="650"/>
                    </a:lnTo>
                    <a:lnTo>
                      <a:pt x="880" y="650"/>
                    </a:lnTo>
                    <a:lnTo>
                      <a:pt x="892" y="650"/>
                    </a:lnTo>
                    <a:lnTo>
                      <a:pt x="912" y="646"/>
                    </a:lnTo>
                    <a:lnTo>
                      <a:pt x="916" y="642"/>
                    </a:lnTo>
                    <a:lnTo>
                      <a:pt x="932" y="634"/>
                    </a:lnTo>
                    <a:lnTo>
                      <a:pt x="953" y="634"/>
                    </a:lnTo>
                    <a:lnTo>
                      <a:pt x="977" y="634"/>
                    </a:lnTo>
                    <a:lnTo>
                      <a:pt x="997" y="617"/>
                    </a:lnTo>
                    <a:lnTo>
                      <a:pt x="1005" y="605"/>
                    </a:lnTo>
                    <a:lnTo>
                      <a:pt x="1013" y="605"/>
                    </a:lnTo>
                    <a:lnTo>
                      <a:pt x="1033" y="605"/>
                    </a:lnTo>
                    <a:lnTo>
                      <a:pt x="1053" y="605"/>
                    </a:lnTo>
                    <a:lnTo>
                      <a:pt x="1057" y="605"/>
                    </a:lnTo>
                    <a:lnTo>
                      <a:pt x="1069" y="609"/>
                    </a:lnTo>
                    <a:lnTo>
                      <a:pt x="1069" y="621"/>
                    </a:lnTo>
                    <a:lnTo>
                      <a:pt x="1069" y="642"/>
                    </a:lnTo>
                    <a:lnTo>
                      <a:pt x="1053" y="662"/>
                    </a:lnTo>
                    <a:lnTo>
                      <a:pt x="1041" y="682"/>
                    </a:lnTo>
                    <a:lnTo>
                      <a:pt x="1033" y="710"/>
                    </a:lnTo>
                    <a:lnTo>
                      <a:pt x="1025" y="730"/>
                    </a:lnTo>
                    <a:lnTo>
                      <a:pt x="1021" y="734"/>
                    </a:lnTo>
                    <a:lnTo>
                      <a:pt x="1013" y="734"/>
                    </a:lnTo>
                    <a:lnTo>
                      <a:pt x="1001" y="759"/>
                    </a:lnTo>
                    <a:lnTo>
                      <a:pt x="993" y="787"/>
                    </a:lnTo>
                    <a:lnTo>
                      <a:pt x="977" y="795"/>
                    </a:lnTo>
                    <a:lnTo>
                      <a:pt x="977" y="815"/>
                    </a:lnTo>
                    <a:lnTo>
                      <a:pt x="977" y="831"/>
                    </a:lnTo>
                    <a:lnTo>
                      <a:pt x="965" y="851"/>
                    </a:lnTo>
                    <a:lnTo>
                      <a:pt x="944" y="872"/>
                    </a:lnTo>
                    <a:lnTo>
                      <a:pt x="940" y="876"/>
                    </a:lnTo>
                    <a:lnTo>
                      <a:pt x="932" y="884"/>
                    </a:lnTo>
                    <a:lnTo>
                      <a:pt x="932" y="896"/>
                    </a:lnTo>
                    <a:lnTo>
                      <a:pt x="932" y="904"/>
                    </a:lnTo>
                    <a:lnTo>
                      <a:pt x="940" y="904"/>
                    </a:lnTo>
                    <a:lnTo>
                      <a:pt x="953" y="908"/>
                    </a:lnTo>
                    <a:lnTo>
                      <a:pt x="953" y="916"/>
                    </a:lnTo>
                    <a:lnTo>
                      <a:pt x="953" y="924"/>
                    </a:lnTo>
                    <a:lnTo>
                      <a:pt x="944" y="928"/>
                    </a:lnTo>
                    <a:lnTo>
                      <a:pt x="932" y="936"/>
                    </a:lnTo>
                    <a:lnTo>
                      <a:pt x="916" y="948"/>
                    </a:lnTo>
                    <a:lnTo>
                      <a:pt x="908" y="964"/>
                    </a:lnTo>
                    <a:lnTo>
                      <a:pt x="908" y="968"/>
                    </a:lnTo>
                    <a:lnTo>
                      <a:pt x="908" y="977"/>
                    </a:lnTo>
                    <a:lnTo>
                      <a:pt x="912" y="993"/>
                    </a:lnTo>
                    <a:lnTo>
                      <a:pt x="916" y="1005"/>
                    </a:lnTo>
                    <a:lnTo>
                      <a:pt x="924" y="1017"/>
                    </a:lnTo>
                    <a:lnTo>
                      <a:pt x="928" y="1033"/>
                    </a:lnTo>
                    <a:lnTo>
                      <a:pt x="932" y="1073"/>
                    </a:lnTo>
                    <a:lnTo>
                      <a:pt x="932" y="1114"/>
                    </a:lnTo>
                    <a:lnTo>
                      <a:pt x="936" y="1118"/>
                    </a:lnTo>
                    <a:lnTo>
                      <a:pt x="940" y="1122"/>
                    </a:lnTo>
                    <a:lnTo>
                      <a:pt x="944" y="1130"/>
                    </a:lnTo>
                    <a:lnTo>
                      <a:pt x="948" y="1142"/>
                    </a:lnTo>
                    <a:lnTo>
                      <a:pt x="948" y="1174"/>
                    </a:lnTo>
                    <a:lnTo>
                      <a:pt x="948" y="1206"/>
                    </a:lnTo>
                    <a:lnTo>
                      <a:pt x="948" y="1223"/>
                    </a:lnTo>
                    <a:lnTo>
                      <a:pt x="944" y="1239"/>
                    </a:lnTo>
                    <a:lnTo>
                      <a:pt x="953" y="1247"/>
                    </a:lnTo>
                    <a:lnTo>
                      <a:pt x="961" y="1259"/>
                    </a:lnTo>
                    <a:lnTo>
                      <a:pt x="965" y="1259"/>
                    </a:lnTo>
                    <a:lnTo>
                      <a:pt x="965" y="1271"/>
                    </a:lnTo>
                    <a:lnTo>
                      <a:pt x="977" y="1275"/>
                    </a:lnTo>
                    <a:lnTo>
                      <a:pt x="977" y="1279"/>
                    </a:lnTo>
                    <a:lnTo>
                      <a:pt x="993" y="1311"/>
                    </a:lnTo>
                    <a:lnTo>
                      <a:pt x="1001" y="1328"/>
                    </a:lnTo>
                    <a:lnTo>
                      <a:pt x="1001" y="1372"/>
                    </a:lnTo>
                    <a:lnTo>
                      <a:pt x="1001" y="1424"/>
                    </a:lnTo>
                    <a:lnTo>
                      <a:pt x="1013" y="1436"/>
                    </a:lnTo>
                    <a:lnTo>
                      <a:pt x="1033" y="1449"/>
                    </a:lnTo>
                    <a:lnTo>
                      <a:pt x="1033" y="1457"/>
                    </a:lnTo>
                    <a:lnTo>
                      <a:pt x="1041" y="1465"/>
                    </a:lnTo>
                    <a:lnTo>
                      <a:pt x="1049" y="1477"/>
                    </a:lnTo>
                    <a:lnTo>
                      <a:pt x="1057" y="1481"/>
                    </a:lnTo>
                    <a:lnTo>
                      <a:pt x="1061" y="1493"/>
                    </a:lnTo>
                    <a:lnTo>
                      <a:pt x="1061" y="1509"/>
                    </a:lnTo>
                    <a:lnTo>
                      <a:pt x="1069" y="1541"/>
                    </a:lnTo>
                    <a:lnTo>
                      <a:pt x="1069" y="1574"/>
                    </a:lnTo>
                    <a:lnTo>
                      <a:pt x="1078" y="1590"/>
                    </a:lnTo>
                    <a:lnTo>
                      <a:pt x="1082" y="1598"/>
                    </a:lnTo>
                    <a:lnTo>
                      <a:pt x="1086" y="1602"/>
                    </a:lnTo>
                    <a:lnTo>
                      <a:pt x="1094" y="1606"/>
                    </a:lnTo>
                    <a:lnTo>
                      <a:pt x="1094" y="1614"/>
                    </a:lnTo>
                    <a:lnTo>
                      <a:pt x="1094" y="1618"/>
                    </a:lnTo>
                    <a:lnTo>
                      <a:pt x="1098" y="1622"/>
                    </a:lnTo>
                    <a:lnTo>
                      <a:pt x="1106" y="1626"/>
                    </a:lnTo>
                    <a:lnTo>
                      <a:pt x="1110" y="1638"/>
                    </a:lnTo>
                    <a:lnTo>
                      <a:pt x="1110" y="1646"/>
                    </a:lnTo>
                    <a:lnTo>
                      <a:pt x="1114" y="1650"/>
                    </a:lnTo>
                    <a:lnTo>
                      <a:pt x="1122" y="1654"/>
                    </a:lnTo>
                    <a:lnTo>
                      <a:pt x="1122" y="1670"/>
                    </a:lnTo>
                    <a:lnTo>
                      <a:pt x="1126" y="1691"/>
                    </a:lnTo>
                    <a:lnTo>
                      <a:pt x="1126" y="1699"/>
                    </a:lnTo>
                    <a:lnTo>
                      <a:pt x="1130" y="1707"/>
                    </a:lnTo>
                    <a:lnTo>
                      <a:pt x="1138" y="1711"/>
                    </a:lnTo>
                    <a:lnTo>
                      <a:pt x="1146" y="1723"/>
                    </a:lnTo>
                    <a:lnTo>
                      <a:pt x="1162" y="1727"/>
                    </a:lnTo>
                    <a:lnTo>
                      <a:pt x="1195" y="1735"/>
                    </a:lnTo>
                    <a:lnTo>
                      <a:pt x="1195" y="1743"/>
                    </a:lnTo>
                    <a:lnTo>
                      <a:pt x="1199" y="1743"/>
                    </a:lnTo>
                    <a:lnTo>
                      <a:pt x="1207" y="1779"/>
                    </a:lnTo>
                    <a:lnTo>
                      <a:pt x="1207" y="1783"/>
                    </a:lnTo>
                    <a:lnTo>
                      <a:pt x="1235" y="1791"/>
                    </a:lnTo>
                    <a:lnTo>
                      <a:pt x="1255" y="1791"/>
                    </a:lnTo>
                    <a:lnTo>
                      <a:pt x="1259" y="1796"/>
                    </a:lnTo>
                    <a:lnTo>
                      <a:pt x="1263" y="1796"/>
                    </a:lnTo>
                    <a:lnTo>
                      <a:pt x="1263" y="1804"/>
                    </a:lnTo>
                    <a:lnTo>
                      <a:pt x="1263" y="1816"/>
                    </a:lnTo>
                    <a:lnTo>
                      <a:pt x="1259" y="1820"/>
                    </a:lnTo>
                    <a:lnTo>
                      <a:pt x="1255" y="1824"/>
                    </a:lnTo>
                    <a:lnTo>
                      <a:pt x="1255" y="1828"/>
                    </a:lnTo>
                    <a:lnTo>
                      <a:pt x="1259" y="1832"/>
                    </a:lnTo>
                    <a:lnTo>
                      <a:pt x="1263" y="1844"/>
                    </a:lnTo>
                    <a:lnTo>
                      <a:pt x="1299" y="1860"/>
                    </a:lnTo>
                    <a:lnTo>
                      <a:pt x="1308" y="1864"/>
                    </a:lnTo>
                    <a:lnTo>
                      <a:pt x="1324" y="1868"/>
                    </a:lnTo>
                    <a:lnTo>
                      <a:pt x="1340" y="1872"/>
                    </a:lnTo>
                    <a:lnTo>
                      <a:pt x="1344" y="1876"/>
                    </a:lnTo>
                    <a:lnTo>
                      <a:pt x="1352" y="1876"/>
                    </a:lnTo>
                    <a:lnTo>
                      <a:pt x="1356" y="1876"/>
                    </a:lnTo>
                    <a:lnTo>
                      <a:pt x="1360" y="1872"/>
                    </a:lnTo>
                    <a:lnTo>
                      <a:pt x="1368" y="1868"/>
                    </a:lnTo>
                    <a:lnTo>
                      <a:pt x="1400" y="1868"/>
                    </a:lnTo>
                    <a:lnTo>
                      <a:pt x="1437" y="1864"/>
                    </a:lnTo>
                    <a:lnTo>
                      <a:pt x="1445" y="1832"/>
                    </a:lnTo>
                    <a:lnTo>
                      <a:pt x="1453" y="1775"/>
                    </a:lnTo>
                    <a:lnTo>
                      <a:pt x="1457" y="1755"/>
                    </a:lnTo>
                    <a:lnTo>
                      <a:pt x="1457" y="1731"/>
                    </a:lnTo>
                    <a:lnTo>
                      <a:pt x="1441" y="1711"/>
                    </a:lnTo>
                    <a:lnTo>
                      <a:pt x="1437" y="1707"/>
                    </a:lnTo>
                    <a:lnTo>
                      <a:pt x="1429" y="1707"/>
                    </a:lnTo>
                    <a:lnTo>
                      <a:pt x="1416" y="1699"/>
                    </a:lnTo>
                    <a:lnTo>
                      <a:pt x="1404" y="1699"/>
                    </a:lnTo>
                    <a:lnTo>
                      <a:pt x="1392" y="1699"/>
                    </a:lnTo>
                    <a:lnTo>
                      <a:pt x="1392" y="1707"/>
                    </a:lnTo>
                    <a:lnTo>
                      <a:pt x="1388" y="1707"/>
                    </a:lnTo>
                    <a:lnTo>
                      <a:pt x="1364" y="1707"/>
                    </a:lnTo>
                    <a:lnTo>
                      <a:pt x="1340" y="1707"/>
                    </a:lnTo>
                    <a:lnTo>
                      <a:pt x="1328" y="1695"/>
                    </a:lnTo>
                    <a:lnTo>
                      <a:pt x="1312" y="1687"/>
                    </a:lnTo>
                    <a:lnTo>
                      <a:pt x="1312" y="1658"/>
                    </a:lnTo>
                    <a:lnTo>
                      <a:pt x="1312" y="1630"/>
                    </a:lnTo>
                    <a:lnTo>
                      <a:pt x="1320" y="1622"/>
                    </a:lnTo>
                    <a:lnTo>
                      <a:pt x="1324" y="1614"/>
                    </a:lnTo>
                    <a:lnTo>
                      <a:pt x="1324" y="1594"/>
                    </a:lnTo>
                    <a:lnTo>
                      <a:pt x="1328" y="1566"/>
                    </a:lnTo>
                    <a:lnTo>
                      <a:pt x="1324" y="1566"/>
                    </a:lnTo>
                    <a:lnTo>
                      <a:pt x="1312" y="1562"/>
                    </a:lnTo>
                    <a:lnTo>
                      <a:pt x="1308" y="1549"/>
                    </a:lnTo>
                    <a:lnTo>
                      <a:pt x="1303" y="1537"/>
                    </a:lnTo>
                    <a:lnTo>
                      <a:pt x="1303" y="1509"/>
                    </a:lnTo>
                    <a:lnTo>
                      <a:pt x="1303" y="1493"/>
                    </a:lnTo>
                    <a:lnTo>
                      <a:pt x="1308" y="1489"/>
                    </a:lnTo>
                    <a:lnTo>
                      <a:pt x="1312" y="1481"/>
                    </a:lnTo>
                    <a:lnTo>
                      <a:pt x="1312" y="1465"/>
                    </a:lnTo>
                    <a:lnTo>
                      <a:pt x="1312" y="1449"/>
                    </a:lnTo>
                    <a:lnTo>
                      <a:pt x="1308" y="1449"/>
                    </a:lnTo>
                    <a:lnTo>
                      <a:pt x="1303" y="1445"/>
                    </a:lnTo>
                    <a:lnTo>
                      <a:pt x="1291" y="1424"/>
                    </a:lnTo>
                    <a:lnTo>
                      <a:pt x="1283" y="1408"/>
                    </a:lnTo>
                    <a:lnTo>
                      <a:pt x="1279" y="1400"/>
                    </a:lnTo>
                    <a:lnTo>
                      <a:pt x="1275" y="1392"/>
                    </a:lnTo>
                    <a:lnTo>
                      <a:pt x="1275" y="1352"/>
                    </a:lnTo>
                    <a:lnTo>
                      <a:pt x="1279" y="1340"/>
                    </a:lnTo>
                    <a:lnTo>
                      <a:pt x="1287" y="1332"/>
                    </a:lnTo>
                    <a:lnTo>
                      <a:pt x="1303" y="1323"/>
                    </a:lnTo>
                    <a:lnTo>
                      <a:pt x="1312" y="1307"/>
                    </a:lnTo>
                    <a:lnTo>
                      <a:pt x="1328" y="1291"/>
                    </a:lnTo>
                    <a:lnTo>
                      <a:pt x="1344" y="1291"/>
                    </a:lnTo>
                    <a:lnTo>
                      <a:pt x="1364" y="1291"/>
                    </a:lnTo>
                    <a:lnTo>
                      <a:pt x="1364" y="1315"/>
                    </a:lnTo>
                    <a:lnTo>
                      <a:pt x="1364" y="1340"/>
                    </a:lnTo>
                    <a:lnTo>
                      <a:pt x="1360" y="1344"/>
                    </a:lnTo>
                    <a:lnTo>
                      <a:pt x="1360" y="1360"/>
                    </a:lnTo>
                    <a:lnTo>
                      <a:pt x="1360" y="1376"/>
                    </a:lnTo>
                    <a:lnTo>
                      <a:pt x="1364" y="1388"/>
                    </a:lnTo>
                    <a:lnTo>
                      <a:pt x="1364" y="1392"/>
                    </a:lnTo>
                    <a:lnTo>
                      <a:pt x="1376" y="1400"/>
                    </a:lnTo>
                    <a:lnTo>
                      <a:pt x="1384" y="1408"/>
                    </a:lnTo>
                    <a:lnTo>
                      <a:pt x="1388" y="1412"/>
                    </a:lnTo>
                    <a:lnTo>
                      <a:pt x="1392" y="1424"/>
                    </a:lnTo>
                    <a:lnTo>
                      <a:pt x="1392" y="1440"/>
                    </a:lnTo>
                    <a:lnTo>
                      <a:pt x="1396" y="1453"/>
                    </a:lnTo>
                    <a:lnTo>
                      <a:pt x="1400" y="1465"/>
                    </a:lnTo>
                    <a:lnTo>
                      <a:pt x="1412" y="1481"/>
                    </a:lnTo>
                    <a:lnTo>
                      <a:pt x="1416" y="1501"/>
                    </a:lnTo>
                    <a:lnTo>
                      <a:pt x="1429" y="1517"/>
                    </a:lnTo>
                    <a:lnTo>
                      <a:pt x="1433" y="1525"/>
                    </a:lnTo>
                    <a:lnTo>
                      <a:pt x="1441" y="1533"/>
                    </a:lnTo>
                    <a:lnTo>
                      <a:pt x="1445" y="1541"/>
                    </a:lnTo>
                    <a:lnTo>
                      <a:pt x="1449" y="1553"/>
                    </a:lnTo>
                    <a:lnTo>
                      <a:pt x="1465" y="1562"/>
                    </a:lnTo>
                    <a:lnTo>
                      <a:pt x="1473" y="1570"/>
                    </a:lnTo>
                    <a:lnTo>
                      <a:pt x="1477" y="1602"/>
                    </a:lnTo>
                    <a:lnTo>
                      <a:pt x="1481" y="1618"/>
                    </a:lnTo>
                    <a:lnTo>
                      <a:pt x="1493" y="1626"/>
                    </a:lnTo>
                    <a:lnTo>
                      <a:pt x="1501" y="1638"/>
                    </a:lnTo>
                    <a:lnTo>
                      <a:pt x="1509" y="1642"/>
                    </a:lnTo>
                    <a:lnTo>
                      <a:pt x="1525" y="1646"/>
                    </a:lnTo>
                    <a:lnTo>
                      <a:pt x="1578" y="1646"/>
                    </a:lnTo>
                    <a:lnTo>
                      <a:pt x="1630" y="1650"/>
                    </a:lnTo>
                    <a:lnTo>
                      <a:pt x="1634" y="1646"/>
                    </a:lnTo>
                    <a:lnTo>
                      <a:pt x="1658" y="1642"/>
                    </a:lnTo>
                    <a:lnTo>
                      <a:pt x="1679" y="1638"/>
                    </a:lnTo>
                    <a:lnTo>
                      <a:pt x="1703" y="1618"/>
                    </a:lnTo>
                    <a:lnTo>
                      <a:pt x="1731" y="1606"/>
                    </a:lnTo>
                    <a:lnTo>
                      <a:pt x="1743" y="1598"/>
                    </a:lnTo>
                    <a:lnTo>
                      <a:pt x="1743" y="1590"/>
                    </a:lnTo>
                    <a:lnTo>
                      <a:pt x="1767" y="1582"/>
                    </a:lnTo>
                    <a:lnTo>
                      <a:pt x="1780" y="1574"/>
                    </a:lnTo>
                    <a:lnTo>
                      <a:pt x="1828" y="1574"/>
                    </a:lnTo>
                    <a:lnTo>
                      <a:pt x="1872" y="1574"/>
                    </a:lnTo>
                    <a:lnTo>
                      <a:pt x="1884" y="1574"/>
                    </a:lnTo>
                    <a:lnTo>
                      <a:pt x="1917" y="1578"/>
                    </a:lnTo>
                    <a:lnTo>
                      <a:pt x="1933" y="1598"/>
                    </a:lnTo>
                    <a:lnTo>
                      <a:pt x="1949" y="1614"/>
                    </a:lnTo>
                    <a:lnTo>
                      <a:pt x="1953" y="1618"/>
                    </a:lnTo>
                    <a:lnTo>
                      <a:pt x="1957" y="1622"/>
                    </a:lnTo>
                    <a:lnTo>
                      <a:pt x="1969" y="1638"/>
                    </a:lnTo>
                    <a:lnTo>
                      <a:pt x="1973" y="1646"/>
                    </a:lnTo>
                    <a:lnTo>
                      <a:pt x="1981" y="1650"/>
                    </a:lnTo>
                    <a:lnTo>
                      <a:pt x="1985" y="1654"/>
                    </a:lnTo>
                    <a:lnTo>
                      <a:pt x="1989" y="1658"/>
                    </a:lnTo>
                    <a:lnTo>
                      <a:pt x="2001" y="1666"/>
                    </a:lnTo>
                    <a:lnTo>
                      <a:pt x="2009" y="1670"/>
                    </a:lnTo>
                    <a:lnTo>
                      <a:pt x="2026" y="1683"/>
                    </a:lnTo>
                    <a:lnTo>
                      <a:pt x="2078" y="1683"/>
                    </a:lnTo>
                    <a:lnTo>
                      <a:pt x="2126" y="1683"/>
                    </a:lnTo>
                    <a:lnTo>
                      <a:pt x="2147" y="1670"/>
                    </a:lnTo>
                    <a:lnTo>
                      <a:pt x="2171" y="1662"/>
                    </a:lnTo>
                    <a:lnTo>
                      <a:pt x="2175" y="1666"/>
                    </a:lnTo>
                    <a:lnTo>
                      <a:pt x="2183" y="1666"/>
                    </a:lnTo>
                    <a:lnTo>
                      <a:pt x="2191" y="1662"/>
                    </a:lnTo>
                    <a:lnTo>
                      <a:pt x="2183" y="1658"/>
                    </a:lnTo>
                    <a:lnTo>
                      <a:pt x="2183" y="1654"/>
                    </a:lnTo>
                    <a:lnTo>
                      <a:pt x="2191" y="1654"/>
                    </a:lnTo>
                    <a:lnTo>
                      <a:pt x="2199" y="1650"/>
                    </a:lnTo>
                    <a:lnTo>
                      <a:pt x="2207" y="1650"/>
                    </a:lnTo>
                    <a:lnTo>
                      <a:pt x="2219" y="1646"/>
                    </a:lnTo>
                    <a:lnTo>
                      <a:pt x="2227" y="1638"/>
                    </a:lnTo>
                    <a:lnTo>
                      <a:pt x="2235" y="1626"/>
                    </a:lnTo>
                    <a:lnTo>
                      <a:pt x="2243" y="1618"/>
                    </a:lnTo>
                    <a:lnTo>
                      <a:pt x="2256" y="1602"/>
                    </a:lnTo>
                    <a:lnTo>
                      <a:pt x="2260" y="1598"/>
                    </a:lnTo>
                    <a:lnTo>
                      <a:pt x="2260" y="1570"/>
                    </a:lnTo>
                    <a:lnTo>
                      <a:pt x="2268" y="1549"/>
                    </a:lnTo>
                    <a:lnTo>
                      <a:pt x="2272" y="1541"/>
                    </a:lnTo>
                    <a:lnTo>
                      <a:pt x="2276" y="1537"/>
                    </a:lnTo>
                    <a:lnTo>
                      <a:pt x="2280" y="1509"/>
                    </a:lnTo>
                    <a:lnTo>
                      <a:pt x="2280" y="1481"/>
                    </a:lnTo>
                    <a:lnTo>
                      <a:pt x="2284" y="1473"/>
                    </a:lnTo>
                    <a:lnTo>
                      <a:pt x="2288" y="1457"/>
                    </a:lnTo>
                    <a:lnTo>
                      <a:pt x="2356" y="1449"/>
                    </a:lnTo>
                    <a:lnTo>
                      <a:pt x="2385" y="1449"/>
                    </a:lnTo>
                    <a:lnTo>
                      <a:pt x="2421" y="1457"/>
                    </a:lnTo>
                    <a:lnTo>
                      <a:pt x="2453" y="1473"/>
                    </a:lnTo>
                    <a:lnTo>
                      <a:pt x="2481" y="1473"/>
                    </a:lnTo>
                    <a:lnTo>
                      <a:pt x="2506" y="1473"/>
                    </a:lnTo>
                    <a:lnTo>
                      <a:pt x="2510" y="1481"/>
                    </a:lnTo>
                    <a:lnTo>
                      <a:pt x="2514" y="1485"/>
                    </a:lnTo>
                    <a:lnTo>
                      <a:pt x="2562" y="1501"/>
                    </a:lnTo>
                    <a:lnTo>
                      <a:pt x="2590" y="1513"/>
                    </a:lnTo>
                    <a:lnTo>
                      <a:pt x="2607" y="1521"/>
                    </a:lnTo>
                    <a:lnTo>
                      <a:pt x="2619" y="1529"/>
                    </a:lnTo>
                    <a:lnTo>
                      <a:pt x="2643" y="1533"/>
                    </a:lnTo>
                    <a:lnTo>
                      <a:pt x="2651" y="1537"/>
                    </a:lnTo>
                    <a:lnTo>
                      <a:pt x="2667" y="1537"/>
                    </a:lnTo>
                    <a:lnTo>
                      <a:pt x="2683" y="1537"/>
                    </a:lnTo>
                    <a:lnTo>
                      <a:pt x="2711" y="1529"/>
                    </a:lnTo>
                    <a:lnTo>
                      <a:pt x="2808" y="1501"/>
                    </a:lnTo>
                    <a:lnTo>
                      <a:pt x="2812" y="1489"/>
                    </a:lnTo>
                    <a:lnTo>
                      <a:pt x="2824" y="1485"/>
                    </a:lnTo>
                    <a:lnTo>
                      <a:pt x="2840" y="1477"/>
                    </a:lnTo>
                    <a:lnTo>
                      <a:pt x="2869" y="1465"/>
                    </a:lnTo>
                    <a:lnTo>
                      <a:pt x="2897" y="1457"/>
                    </a:lnTo>
                    <a:lnTo>
                      <a:pt x="2925" y="1445"/>
                    </a:lnTo>
                    <a:lnTo>
                      <a:pt x="2937" y="1436"/>
                    </a:lnTo>
                    <a:lnTo>
                      <a:pt x="2970" y="1436"/>
                    </a:lnTo>
                    <a:lnTo>
                      <a:pt x="3006" y="1436"/>
                    </a:lnTo>
                    <a:lnTo>
                      <a:pt x="3022" y="1449"/>
                    </a:lnTo>
                    <a:lnTo>
                      <a:pt x="3046" y="1465"/>
                    </a:lnTo>
                    <a:lnTo>
                      <a:pt x="3054" y="1465"/>
                    </a:lnTo>
                    <a:lnTo>
                      <a:pt x="3070" y="1473"/>
                    </a:lnTo>
                    <a:lnTo>
                      <a:pt x="3087" y="1489"/>
                    </a:lnTo>
                    <a:lnTo>
                      <a:pt x="3111" y="1501"/>
                    </a:lnTo>
                    <a:lnTo>
                      <a:pt x="3163" y="1517"/>
                    </a:lnTo>
                    <a:lnTo>
                      <a:pt x="3183" y="1517"/>
                    </a:lnTo>
                    <a:lnTo>
                      <a:pt x="3195" y="1517"/>
                    </a:lnTo>
                    <a:lnTo>
                      <a:pt x="3195" y="1513"/>
                    </a:lnTo>
                    <a:lnTo>
                      <a:pt x="3208" y="1501"/>
                    </a:lnTo>
                    <a:lnTo>
                      <a:pt x="3212" y="1485"/>
                    </a:lnTo>
                    <a:lnTo>
                      <a:pt x="3236" y="1473"/>
                    </a:lnTo>
                    <a:lnTo>
                      <a:pt x="3252" y="1457"/>
                    </a:lnTo>
                    <a:lnTo>
                      <a:pt x="3264" y="1453"/>
                    </a:lnTo>
                    <a:lnTo>
                      <a:pt x="3276" y="1453"/>
                    </a:lnTo>
                    <a:lnTo>
                      <a:pt x="3280" y="1445"/>
                    </a:lnTo>
                    <a:lnTo>
                      <a:pt x="3288" y="1428"/>
                    </a:lnTo>
                    <a:lnTo>
                      <a:pt x="3296" y="1424"/>
                    </a:lnTo>
                    <a:lnTo>
                      <a:pt x="3308" y="1424"/>
                    </a:lnTo>
                    <a:lnTo>
                      <a:pt x="3312" y="1412"/>
                    </a:lnTo>
                    <a:lnTo>
                      <a:pt x="3312" y="1404"/>
                    </a:lnTo>
                    <a:lnTo>
                      <a:pt x="3317" y="1404"/>
                    </a:lnTo>
                    <a:lnTo>
                      <a:pt x="3317" y="1400"/>
                    </a:lnTo>
                    <a:lnTo>
                      <a:pt x="3329" y="1396"/>
                    </a:lnTo>
                    <a:lnTo>
                      <a:pt x="3341" y="1392"/>
                    </a:lnTo>
                    <a:lnTo>
                      <a:pt x="3349" y="1376"/>
                    </a:lnTo>
                    <a:lnTo>
                      <a:pt x="3365" y="1360"/>
                    </a:lnTo>
                    <a:lnTo>
                      <a:pt x="3373" y="1360"/>
                    </a:lnTo>
                    <a:lnTo>
                      <a:pt x="3381" y="1360"/>
                    </a:lnTo>
                    <a:lnTo>
                      <a:pt x="3401" y="1364"/>
                    </a:lnTo>
                    <a:lnTo>
                      <a:pt x="3425" y="1368"/>
                    </a:lnTo>
                    <a:lnTo>
                      <a:pt x="3425" y="1364"/>
                    </a:lnTo>
                    <a:lnTo>
                      <a:pt x="3429" y="1364"/>
                    </a:lnTo>
                    <a:lnTo>
                      <a:pt x="3458" y="1364"/>
                    </a:lnTo>
                    <a:lnTo>
                      <a:pt x="3486" y="1364"/>
                    </a:lnTo>
                    <a:lnTo>
                      <a:pt x="3498" y="1368"/>
                    </a:lnTo>
                    <a:lnTo>
                      <a:pt x="3502" y="1376"/>
                    </a:lnTo>
                    <a:lnTo>
                      <a:pt x="3522" y="1376"/>
                    </a:lnTo>
                    <a:lnTo>
                      <a:pt x="3546" y="1380"/>
                    </a:lnTo>
                    <a:lnTo>
                      <a:pt x="3567" y="1396"/>
                    </a:lnTo>
                    <a:lnTo>
                      <a:pt x="3587" y="1404"/>
                    </a:lnTo>
                    <a:lnTo>
                      <a:pt x="3595" y="1412"/>
                    </a:lnTo>
                    <a:lnTo>
                      <a:pt x="3603" y="1416"/>
                    </a:lnTo>
                    <a:lnTo>
                      <a:pt x="3623" y="1424"/>
                    </a:lnTo>
                    <a:lnTo>
                      <a:pt x="3676" y="1424"/>
                    </a:lnTo>
                    <a:lnTo>
                      <a:pt x="3684" y="1424"/>
                    </a:lnTo>
                    <a:lnTo>
                      <a:pt x="3688" y="1428"/>
                    </a:lnTo>
                    <a:lnTo>
                      <a:pt x="3700" y="1428"/>
                    </a:lnTo>
                    <a:lnTo>
                      <a:pt x="3712" y="1428"/>
                    </a:lnTo>
                    <a:lnTo>
                      <a:pt x="3728" y="1424"/>
                    </a:lnTo>
                    <a:lnTo>
                      <a:pt x="3732" y="1424"/>
                    </a:lnTo>
                    <a:lnTo>
                      <a:pt x="3756" y="1424"/>
                    </a:lnTo>
                    <a:lnTo>
                      <a:pt x="3772" y="1416"/>
                    </a:lnTo>
                    <a:lnTo>
                      <a:pt x="3789" y="1412"/>
                    </a:lnTo>
                    <a:lnTo>
                      <a:pt x="3797" y="1408"/>
                    </a:lnTo>
                    <a:lnTo>
                      <a:pt x="3809" y="1404"/>
                    </a:lnTo>
                    <a:lnTo>
                      <a:pt x="3813" y="1396"/>
                    </a:lnTo>
                    <a:lnTo>
                      <a:pt x="3821" y="1388"/>
                    </a:lnTo>
                    <a:lnTo>
                      <a:pt x="3829" y="1376"/>
                    </a:lnTo>
                    <a:lnTo>
                      <a:pt x="3833" y="1372"/>
                    </a:lnTo>
                    <a:lnTo>
                      <a:pt x="3849" y="1368"/>
                    </a:lnTo>
                    <a:lnTo>
                      <a:pt x="3857" y="1364"/>
                    </a:lnTo>
                    <a:lnTo>
                      <a:pt x="3869" y="1364"/>
                    </a:lnTo>
                    <a:lnTo>
                      <a:pt x="3885" y="1356"/>
                    </a:lnTo>
                    <a:lnTo>
                      <a:pt x="3893" y="1348"/>
                    </a:lnTo>
                    <a:lnTo>
                      <a:pt x="3922" y="1344"/>
                    </a:lnTo>
                    <a:lnTo>
                      <a:pt x="3950" y="1332"/>
                    </a:lnTo>
                    <a:lnTo>
                      <a:pt x="3958" y="1332"/>
                    </a:lnTo>
                    <a:lnTo>
                      <a:pt x="3966" y="1332"/>
                    </a:lnTo>
                    <a:lnTo>
                      <a:pt x="3986" y="1340"/>
                    </a:lnTo>
                    <a:lnTo>
                      <a:pt x="4010" y="1348"/>
                    </a:lnTo>
                    <a:lnTo>
                      <a:pt x="4022" y="1352"/>
                    </a:lnTo>
                    <a:lnTo>
                      <a:pt x="4039" y="1360"/>
                    </a:lnTo>
                    <a:lnTo>
                      <a:pt x="4055" y="1372"/>
                    </a:lnTo>
                    <a:lnTo>
                      <a:pt x="4071" y="1392"/>
                    </a:lnTo>
                    <a:lnTo>
                      <a:pt x="4079" y="1404"/>
                    </a:lnTo>
                    <a:lnTo>
                      <a:pt x="4083" y="1416"/>
                    </a:lnTo>
                    <a:lnTo>
                      <a:pt x="4091" y="1424"/>
                    </a:lnTo>
                    <a:lnTo>
                      <a:pt x="4103" y="1428"/>
                    </a:lnTo>
                    <a:lnTo>
                      <a:pt x="4127" y="1445"/>
                    </a:lnTo>
                    <a:lnTo>
                      <a:pt x="4152" y="1457"/>
                    </a:lnTo>
                    <a:lnTo>
                      <a:pt x="4192" y="1457"/>
                    </a:lnTo>
                    <a:lnTo>
                      <a:pt x="4232" y="1453"/>
                    </a:lnTo>
                    <a:lnTo>
                      <a:pt x="4261" y="1440"/>
                    </a:lnTo>
                    <a:lnTo>
                      <a:pt x="4273" y="1428"/>
                    </a:lnTo>
                    <a:lnTo>
                      <a:pt x="4293" y="1396"/>
                    </a:lnTo>
                    <a:lnTo>
                      <a:pt x="4309" y="1368"/>
                    </a:lnTo>
                    <a:lnTo>
                      <a:pt x="4309" y="1356"/>
                    </a:lnTo>
                    <a:lnTo>
                      <a:pt x="4321" y="1340"/>
                    </a:lnTo>
                    <a:lnTo>
                      <a:pt x="4325" y="1279"/>
                    </a:lnTo>
                    <a:lnTo>
                      <a:pt x="4325" y="1243"/>
                    </a:lnTo>
                    <a:lnTo>
                      <a:pt x="4329" y="1235"/>
                    </a:lnTo>
                    <a:lnTo>
                      <a:pt x="4329" y="1223"/>
                    </a:lnTo>
                    <a:lnTo>
                      <a:pt x="4337" y="1211"/>
                    </a:lnTo>
                    <a:lnTo>
                      <a:pt x="4353" y="1202"/>
                    </a:lnTo>
                    <a:lnTo>
                      <a:pt x="4357" y="1194"/>
                    </a:lnTo>
                    <a:lnTo>
                      <a:pt x="4357" y="1182"/>
                    </a:lnTo>
                    <a:lnTo>
                      <a:pt x="4357" y="1174"/>
                    </a:lnTo>
                    <a:lnTo>
                      <a:pt x="4357" y="1162"/>
                    </a:lnTo>
                    <a:lnTo>
                      <a:pt x="4361" y="1158"/>
                    </a:lnTo>
                    <a:lnTo>
                      <a:pt x="4373" y="1146"/>
                    </a:lnTo>
                    <a:lnTo>
                      <a:pt x="4386" y="1134"/>
                    </a:lnTo>
                    <a:lnTo>
                      <a:pt x="4398" y="1122"/>
                    </a:lnTo>
                    <a:lnTo>
                      <a:pt x="4418" y="1118"/>
                    </a:lnTo>
                    <a:lnTo>
                      <a:pt x="4442" y="1114"/>
                    </a:lnTo>
                    <a:lnTo>
                      <a:pt x="4446" y="1106"/>
                    </a:lnTo>
                    <a:lnTo>
                      <a:pt x="4446" y="1102"/>
                    </a:lnTo>
                    <a:lnTo>
                      <a:pt x="4470" y="1089"/>
                    </a:lnTo>
                    <a:lnTo>
                      <a:pt x="4486" y="1081"/>
                    </a:lnTo>
                    <a:lnTo>
                      <a:pt x="4490" y="1077"/>
                    </a:lnTo>
                    <a:lnTo>
                      <a:pt x="4499" y="1077"/>
                    </a:lnTo>
                    <a:lnTo>
                      <a:pt x="4507" y="1069"/>
                    </a:lnTo>
                    <a:lnTo>
                      <a:pt x="4519" y="1061"/>
                    </a:lnTo>
                    <a:lnTo>
                      <a:pt x="4531" y="1033"/>
                    </a:lnTo>
                    <a:lnTo>
                      <a:pt x="4571" y="977"/>
                    </a:lnTo>
                    <a:lnTo>
                      <a:pt x="4575" y="968"/>
                    </a:lnTo>
                    <a:lnTo>
                      <a:pt x="4579" y="960"/>
                    </a:lnTo>
                    <a:lnTo>
                      <a:pt x="4583" y="952"/>
                    </a:lnTo>
                    <a:lnTo>
                      <a:pt x="4591" y="944"/>
                    </a:lnTo>
                    <a:lnTo>
                      <a:pt x="4591" y="928"/>
                    </a:lnTo>
                    <a:lnTo>
                      <a:pt x="4595" y="912"/>
                    </a:lnTo>
                    <a:lnTo>
                      <a:pt x="4611" y="900"/>
                    </a:lnTo>
                    <a:lnTo>
                      <a:pt x="4636" y="880"/>
                    </a:lnTo>
                    <a:lnTo>
                      <a:pt x="4660" y="876"/>
                    </a:lnTo>
                    <a:lnTo>
                      <a:pt x="4692" y="872"/>
                    </a:lnTo>
                    <a:lnTo>
                      <a:pt x="4724" y="872"/>
                    </a:lnTo>
                    <a:lnTo>
                      <a:pt x="4761" y="872"/>
                    </a:lnTo>
                    <a:lnTo>
                      <a:pt x="4769" y="876"/>
                    </a:lnTo>
                    <a:lnTo>
                      <a:pt x="4777" y="876"/>
                    </a:lnTo>
                    <a:lnTo>
                      <a:pt x="4781" y="880"/>
                    </a:lnTo>
                    <a:lnTo>
                      <a:pt x="4781" y="884"/>
                    </a:lnTo>
                    <a:lnTo>
                      <a:pt x="4789" y="892"/>
                    </a:lnTo>
                    <a:lnTo>
                      <a:pt x="4801" y="892"/>
                    </a:lnTo>
                    <a:lnTo>
                      <a:pt x="4805" y="896"/>
                    </a:lnTo>
                    <a:lnTo>
                      <a:pt x="4809" y="900"/>
                    </a:lnTo>
                    <a:lnTo>
                      <a:pt x="4817" y="904"/>
                    </a:lnTo>
                    <a:lnTo>
                      <a:pt x="4829" y="904"/>
                    </a:lnTo>
                    <a:lnTo>
                      <a:pt x="4833" y="908"/>
                    </a:lnTo>
                    <a:lnTo>
                      <a:pt x="4837" y="912"/>
                    </a:lnTo>
                    <a:lnTo>
                      <a:pt x="4858" y="912"/>
                    </a:lnTo>
                    <a:lnTo>
                      <a:pt x="4878" y="916"/>
                    </a:lnTo>
                    <a:lnTo>
                      <a:pt x="4902" y="900"/>
                    </a:lnTo>
                    <a:lnTo>
                      <a:pt x="4926" y="884"/>
                    </a:lnTo>
                    <a:lnTo>
                      <a:pt x="4946" y="868"/>
                    </a:lnTo>
                    <a:lnTo>
                      <a:pt x="4971" y="851"/>
                    </a:lnTo>
                    <a:lnTo>
                      <a:pt x="4995" y="843"/>
                    </a:lnTo>
                    <a:lnTo>
                      <a:pt x="5011" y="831"/>
                    </a:lnTo>
                    <a:lnTo>
                      <a:pt x="5027" y="831"/>
                    </a:lnTo>
                    <a:lnTo>
                      <a:pt x="5035" y="831"/>
                    </a:lnTo>
                    <a:lnTo>
                      <a:pt x="5059" y="835"/>
                    </a:lnTo>
                    <a:lnTo>
                      <a:pt x="5079" y="843"/>
                    </a:lnTo>
                    <a:lnTo>
                      <a:pt x="5100" y="860"/>
                    </a:lnTo>
                    <a:lnTo>
                      <a:pt x="5120" y="876"/>
                    </a:lnTo>
                    <a:lnTo>
                      <a:pt x="5124" y="876"/>
                    </a:lnTo>
                    <a:lnTo>
                      <a:pt x="5132" y="880"/>
                    </a:lnTo>
                    <a:lnTo>
                      <a:pt x="5152" y="896"/>
                    </a:lnTo>
                    <a:lnTo>
                      <a:pt x="5176" y="912"/>
                    </a:lnTo>
                    <a:lnTo>
                      <a:pt x="5204" y="924"/>
                    </a:lnTo>
                    <a:lnTo>
                      <a:pt x="5217" y="928"/>
                    </a:lnTo>
                    <a:lnTo>
                      <a:pt x="5249" y="928"/>
                    </a:lnTo>
                    <a:lnTo>
                      <a:pt x="5309" y="920"/>
                    </a:lnTo>
                    <a:lnTo>
                      <a:pt x="5317" y="916"/>
                    </a:lnTo>
                    <a:lnTo>
                      <a:pt x="5321" y="912"/>
                    </a:lnTo>
                    <a:lnTo>
                      <a:pt x="5346" y="904"/>
                    </a:lnTo>
                    <a:lnTo>
                      <a:pt x="5398" y="884"/>
                    </a:lnTo>
                    <a:lnTo>
                      <a:pt x="5414" y="872"/>
                    </a:lnTo>
                    <a:lnTo>
                      <a:pt x="5430" y="864"/>
                    </a:lnTo>
                    <a:lnTo>
                      <a:pt x="5443" y="855"/>
                    </a:lnTo>
                    <a:lnTo>
                      <a:pt x="5447" y="847"/>
                    </a:lnTo>
                    <a:lnTo>
                      <a:pt x="5451" y="843"/>
                    </a:lnTo>
                    <a:lnTo>
                      <a:pt x="5451" y="827"/>
                    </a:lnTo>
                    <a:lnTo>
                      <a:pt x="5447" y="819"/>
                    </a:lnTo>
                    <a:lnTo>
                      <a:pt x="5443" y="811"/>
                    </a:lnTo>
                    <a:lnTo>
                      <a:pt x="5434" y="807"/>
                    </a:lnTo>
                    <a:lnTo>
                      <a:pt x="5430" y="795"/>
                    </a:lnTo>
                    <a:lnTo>
                      <a:pt x="5422" y="779"/>
                    </a:lnTo>
                    <a:lnTo>
                      <a:pt x="5414" y="751"/>
                    </a:lnTo>
                    <a:lnTo>
                      <a:pt x="5414" y="722"/>
                    </a:lnTo>
                    <a:lnTo>
                      <a:pt x="5414" y="702"/>
                    </a:lnTo>
                    <a:lnTo>
                      <a:pt x="5406" y="690"/>
                    </a:lnTo>
                    <a:lnTo>
                      <a:pt x="5406" y="674"/>
                    </a:lnTo>
                    <a:lnTo>
                      <a:pt x="5410" y="666"/>
                    </a:lnTo>
                    <a:lnTo>
                      <a:pt x="5414" y="650"/>
                    </a:lnTo>
                    <a:lnTo>
                      <a:pt x="5414" y="642"/>
                    </a:lnTo>
                    <a:lnTo>
                      <a:pt x="5414" y="630"/>
                    </a:lnTo>
                    <a:lnTo>
                      <a:pt x="5406" y="630"/>
                    </a:lnTo>
                    <a:lnTo>
                      <a:pt x="5398" y="626"/>
                    </a:lnTo>
                    <a:lnTo>
                      <a:pt x="5398" y="613"/>
                    </a:lnTo>
                    <a:lnTo>
                      <a:pt x="5398" y="601"/>
                    </a:lnTo>
                    <a:lnTo>
                      <a:pt x="5398" y="589"/>
                    </a:lnTo>
                    <a:lnTo>
                      <a:pt x="5394" y="581"/>
                    </a:lnTo>
                    <a:lnTo>
                      <a:pt x="5394" y="549"/>
                    </a:lnTo>
                    <a:lnTo>
                      <a:pt x="5394" y="513"/>
                    </a:lnTo>
                    <a:lnTo>
                      <a:pt x="5398" y="500"/>
                    </a:lnTo>
                    <a:lnTo>
                      <a:pt x="5406" y="476"/>
                    </a:lnTo>
                    <a:lnTo>
                      <a:pt x="5410" y="468"/>
                    </a:lnTo>
                    <a:lnTo>
                      <a:pt x="5418" y="460"/>
                    </a:lnTo>
                    <a:lnTo>
                      <a:pt x="5430" y="452"/>
                    </a:lnTo>
                    <a:lnTo>
                      <a:pt x="5447" y="448"/>
                    </a:lnTo>
                    <a:lnTo>
                      <a:pt x="5463" y="428"/>
                    </a:lnTo>
                    <a:lnTo>
                      <a:pt x="5475" y="416"/>
                    </a:lnTo>
                    <a:lnTo>
                      <a:pt x="5487" y="412"/>
                    </a:lnTo>
                    <a:lnTo>
                      <a:pt x="5507" y="408"/>
                    </a:lnTo>
                    <a:lnTo>
                      <a:pt x="5547" y="404"/>
                    </a:lnTo>
                    <a:lnTo>
                      <a:pt x="5588" y="400"/>
                    </a:lnTo>
                    <a:lnTo>
                      <a:pt x="5616" y="400"/>
                    </a:lnTo>
                    <a:lnTo>
                      <a:pt x="5644" y="400"/>
                    </a:lnTo>
                    <a:lnTo>
                      <a:pt x="5729" y="383"/>
                    </a:lnTo>
                    <a:lnTo>
                      <a:pt x="5753" y="379"/>
                    </a:lnTo>
                    <a:lnTo>
                      <a:pt x="5757" y="375"/>
                    </a:lnTo>
                    <a:lnTo>
                      <a:pt x="5777" y="375"/>
                    </a:lnTo>
                    <a:lnTo>
                      <a:pt x="5789" y="371"/>
                    </a:lnTo>
                    <a:lnTo>
                      <a:pt x="5798" y="367"/>
                    </a:lnTo>
                    <a:lnTo>
                      <a:pt x="5806" y="363"/>
                    </a:lnTo>
                    <a:lnTo>
                      <a:pt x="5818" y="363"/>
                    </a:lnTo>
                    <a:lnTo>
                      <a:pt x="5818" y="359"/>
                    </a:lnTo>
                    <a:lnTo>
                      <a:pt x="5822" y="355"/>
                    </a:lnTo>
                    <a:lnTo>
                      <a:pt x="5834" y="311"/>
                    </a:lnTo>
                    <a:lnTo>
                      <a:pt x="5838" y="283"/>
                    </a:lnTo>
                    <a:lnTo>
                      <a:pt x="5850" y="283"/>
                    </a:lnTo>
                    <a:lnTo>
                      <a:pt x="5862" y="279"/>
                    </a:lnTo>
                    <a:lnTo>
                      <a:pt x="5870" y="270"/>
                    </a:lnTo>
                    <a:lnTo>
                      <a:pt x="5882" y="258"/>
                    </a:lnTo>
                    <a:lnTo>
                      <a:pt x="5886" y="250"/>
                    </a:lnTo>
                    <a:lnTo>
                      <a:pt x="5894" y="246"/>
                    </a:lnTo>
                    <a:lnTo>
                      <a:pt x="5898" y="218"/>
                    </a:lnTo>
                    <a:lnTo>
                      <a:pt x="5902" y="194"/>
                    </a:lnTo>
                    <a:lnTo>
                      <a:pt x="5927" y="178"/>
                    </a:lnTo>
                    <a:lnTo>
                      <a:pt x="5963" y="153"/>
                    </a:lnTo>
                    <a:lnTo>
                      <a:pt x="5967" y="158"/>
                    </a:lnTo>
                    <a:lnTo>
                      <a:pt x="5975" y="162"/>
                    </a:lnTo>
                    <a:lnTo>
                      <a:pt x="5979" y="158"/>
                    </a:lnTo>
                    <a:lnTo>
                      <a:pt x="5983" y="158"/>
                    </a:lnTo>
                    <a:lnTo>
                      <a:pt x="5983" y="153"/>
                    </a:lnTo>
                    <a:lnTo>
                      <a:pt x="5983" y="145"/>
                    </a:lnTo>
                    <a:lnTo>
                      <a:pt x="5983" y="149"/>
                    </a:lnTo>
                    <a:lnTo>
                      <a:pt x="5987" y="149"/>
                    </a:lnTo>
                    <a:lnTo>
                      <a:pt x="5991" y="145"/>
                    </a:lnTo>
                    <a:lnTo>
                      <a:pt x="5999" y="137"/>
                    </a:lnTo>
                    <a:lnTo>
                      <a:pt x="6003" y="129"/>
                    </a:lnTo>
                    <a:lnTo>
                      <a:pt x="6007" y="129"/>
                    </a:lnTo>
                    <a:lnTo>
                      <a:pt x="6011" y="125"/>
                    </a:lnTo>
                    <a:lnTo>
                      <a:pt x="6015" y="121"/>
                    </a:lnTo>
                    <a:lnTo>
                      <a:pt x="6023" y="117"/>
                    </a:lnTo>
                    <a:lnTo>
                      <a:pt x="6040" y="105"/>
                    </a:lnTo>
                    <a:lnTo>
                      <a:pt x="6060" y="89"/>
                    </a:lnTo>
                    <a:lnTo>
                      <a:pt x="6076" y="89"/>
                    </a:lnTo>
                    <a:lnTo>
                      <a:pt x="6096" y="85"/>
                    </a:lnTo>
                    <a:lnTo>
                      <a:pt x="6108" y="81"/>
                    </a:lnTo>
                    <a:lnTo>
                      <a:pt x="6124" y="73"/>
                    </a:lnTo>
                    <a:lnTo>
                      <a:pt x="6148" y="61"/>
                    </a:lnTo>
                    <a:lnTo>
                      <a:pt x="6169" y="45"/>
                    </a:lnTo>
                    <a:lnTo>
                      <a:pt x="6177" y="41"/>
                    </a:lnTo>
                    <a:lnTo>
                      <a:pt x="6185" y="36"/>
                    </a:lnTo>
                    <a:lnTo>
                      <a:pt x="6185" y="28"/>
                    </a:lnTo>
                    <a:lnTo>
                      <a:pt x="6189" y="28"/>
                    </a:lnTo>
                    <a:lnTo>
                      <a:pt x="6213" y="12"/>
                    </a:lnTo>
                    <a:lnTo>
                      <a:pt x="6245" y="0"/>
                    </a:lnTo>
                    <a:lnTo>
                      <a:pt x="6261" y="0"/>
                    </a:lnTo>
                    <a:lnTo>
                      <a:pt x="6265" y="0"/>
                    </a:lnTo>
                    <a:lnTo>
                      <a:pt x="6265" y="8"/>
                    </a:lnTo>
                    <a:lnTo>
                      <a:pt x="6265" y="16"/>
                    </a:lnTo>
                    <a:lnTo>
                      <a:pt x="6261" y="28"/>
                    </a:lnTo>
                    <a:lnTo>
                      <a:pt x="6257" y="41"/>
                    </a:lnTo>
                    <a:lnTo>
                      <a:pt x="6245" y="53"/>
                    </a:lnTo>
                    <a:lnTo>
                      <a:pt x="6221" y="65"/>
                    </a:lnTo>
                    <a:lnTo>
                      <a:pt x="6209" y="73"/>
                    </a:lnTo>
                    <a:lnTo>
                      <a:pt x="6189" y="81"/>
                    </a:lnTo>
                    <a:lnTo>
                      <a:pt x="6169" y="101"/>
                    </a:lnTo>
                    <a:lnTo>
                      <a:pt x="6157" y="109"/>
                    </a:lnTo>
                    <a:lnTo>
                      <a:pt x="6148" y="113"/>
                    </a:lnTo>
                    <a:lnTo>
                      <a:pt x="6140" y="117"/>
                    </a:lnTo>
                    <a:lnTo>
                      <a:pt x="6132" y="121"/>
                    </a:lnTo>
                    <a:lnTo>
                      <a:pt x="6124" y="121"/>
                    </a:lnTo>
                    <a:lnTo>
                      <a:pt x="6116" y="125"/>
                    </a:lnTo>
                    <a:lnTo>
                      <a:pt x="6104" y="137"/>
                    </a:lnTo>
                    <a:lnTo>
                      <a:pt x="6088" y="153"/>
                    </a:lnTo>
                    <a:lnTo>
                      <a:pt x="6076" y="158"/>
                    </a:lnTo>
                    <a:lnTo>
                      <a:pt x="6068" y="158"/>
                    </a:lnTo>
                    <a:lnTo>
                      <a:pt x="6060" y="166"/>
                    </a:lnTo>
                    <a:lnTo>
                      <a:pt x="6052" y="174"/>
                    </a:lnTo>
                    <a:lnTo>
                      <a:pt x="6052" y="198"/>
                    </a:lnTo>
                    <a:lnTo>
                      <a:pt x="6044" y="218"/>
                    </a:lnTo>
                    <a:lnTo>
                      <a:pt x="6056" y="218"/>
                    </a:lnTo>
                    <a:lnTo>
                      <a:pt x="6060" y="222"/>
                    </a:lnTo>
                    <a:lnTo>
                      <a:pt x="6080" y="234"/>
                    </a:lnTo>
                    <a:lnTo>
                      <a:pt x="6108" y="234"/>
                    </a:lnTo>
                    <a:lnTo>
                      <a:pt x="6120" y="250"/>
                    </a:lnTo>
                    <a:lnTo>
                      <a:pt x="6128" y="258"/>
                    </a:lnTo>
                    <a:lnTo>
                      <a:pt x="6140" y="262"/>
                    </a:lnTo>
                    <a:lnTo>
                      <a:pt x="6153" y="270"/>
                    </a:lnTo>
                    <a:lnTo>
                      <a:pt x="6185" y="270"/>
                    </a:lnTo>
                    <a:lnTo>
                      <a:pt x="6221" y="270"/>
                    </a:lnTo>
                    <a:lnTo>
                      <a:pt x="6257" y="270"/>
                    </a:lnTo>
                    <a:lnTo>
                      <a:pt x="6298" y="270"/>
                    </a:lnTo>
                    <a:lnTo>
                      <a:pt x="6298" y="279"/>
                    </a:lnTo>
                    <a:lnTo>
                      <a:pt x="6302" y="283"/>
                    </a:lnTo>
                    <a:lnTo>
                      <a:pt x="6302" y="299"/>
                    </a:lnTo>
                    <a:lnTo>
                      <a:pt x="6310" y="311"/>
                    </a:lnTo>
                    <a:lnTo>
                      <a:pt x="6318" y="319"/>
                    </a:lnTo>
                    <a:lnTo>
                      <a:pt x="6334" y="319"/>
                    </a:lnTo>
                    <a:lnTo>
                      <a:pt x="6334" y="323"/>
                    </a:lnTo>
                    <a:lnTo>
                      <a:pt x="6338" y="327"/>
                    </a:lnTo>
                    <a:lnTo>
                      <a:pt x="6346" y="331"/>
                    </a:lnTo>
                    <a:lnTo>
                      <a:pt x="6350" y="331"/>
                    </a:lnTo>
                    <a:lnTo>
                      <a:pt x="6362" y="343"/>
                    </a:lnTo>
                    <a:lnTo>
                      <a:pt x="6366" y="347"/>
                    </a:lnTo>
                    <a:lnTo>
                      <a:pt x="6399" y="359"/>
                    </a:lnTo>
                    <a:lnTo>
                      <a:pt x="6427" y="363"/>
                    </a:lnTo>
                    <a:lnTo>
                      <a:pt x="6443" y="371"/>
                    </a:lnTo>
                    <a:lnTo>
                      <a:pt x="6447" y="375"/>
                    </a:lnTo>
                    <a:lnTo>
                      <a:pt x="6475" y="392"/>
                    </a:lnTo>
                    <a:lnTo>
                      <a:pt x="6491" y="404"/>
                    </a:lnTo>
                    <a:lnTo>
                      <a:pt x="6495" y="408"/>
                    </a:lnTo>
                    <a:lnTo>
                      <a:pt x="6503" y="412"/>
                    </a:lnTo>
                    <a:lnTo>
                      <a:pt x="6528" y="416"/>
                    </a:lnTo>
                    <a:lnTo>
                      <a:pt x="6548" y="424"/>
                    </a:lnTo>
                    <a:lnTo>
                      <a:pt x="6556" y="424"/>
                    </a:lnTo>
                    <a:lnTo>
                      <a:pt x="6556" y="428"/>
                    </a:lnTo>
                    <a:lnTo>
                      <a:pt x="6580" y="432"/>
                    </a:lnTo>
                    <a:lnTo>
                      <a:pt x="6608" y="432"/>
                    </a:lnTo>
                    <a:lnTo>
                      <a:pt x="6625" y="436"/>
                    </a:lnTo>
                    <a:lnTo>
                      <a:pt x="6633" y="444"/>
                    </a:lnTo>
                    <a:lnTo>
                      <a:pt x="6653" y="444"/>
                    </a:lnTo>
                    <a:lnTo>
                      <a:pt x="6673" y="436"/>
                    </a:lnTo>
                    <a:lnTo>
                      <a:pt x="6677" y="436"/>
                    </a:lnTo>
                    <a:lnTo>
                      <a:pt x="6677" y="432"/>
                    </a:lnTo>
                    <a:lnTo>
                      <a:pt x="6689" y="428"/>
                    </a:lnTo>
                    <a:lnTo>
                      <a:pt x="6701" y="428"/>
                    </a:lnTo>
                    <a:lnTo>
                      <a:pt x="6709" y="424"/>
                    </a:lnTo>
                    <a:lnTo>
                      <a:pt x="6713" y="416"/>
                    </a:lnTo>
                    <a:lnTo>
                      <a:pt x="6754" y="408"/>
                    </a:lnTo>
                    <a:lnTo>
                      <a:pt x="6790" y="400"/>
                    </a:lnTo>
                    <a:lnTo>
                      <a:pt x="6806" y="396"/>
                    </a:lnTo>
                    <a:lnTo>
                      <a:pt x="6830" y="396"/>
                    </a:lnTo>
                    <a:lnTo>
                      <a:pt x="6846" y="392"/>
                    </a:lnTo>
                    <a:lnTo>
                      <a:pt x="6858" y="383"/>
                    </a:lnTo>
                    <a:lnTo>
                      <a:pt x="6879" y="383"/>
                    </a:lnTo>
                    <a:lnTo>
                      <a:pt x="6895" y="379"/>
                    </a:lnTo>
                    <a:lnTo>
                      <a:pt x="6903" y="375"/>
                    </a:lnTo>
                    <a:lnTo>
                      <a:pt x="6927" y="367"/>
                    </a:lnTo>
                    <a:lnTo>
                      <a:pt x="6935" y="363"/>
                    </a:lnTo>
                    <a:lnTo>
                      <a:pt x="6947" y="363"/>
                    </a:lnTo>
                    <a:lnTo>
                      <a:pt x="6947" y="359"/>
                    </a:lnTo>
                    <a:lnTo>
                      <a:pt x="6947" y="355"/>
                    </a:lnTo>
                    <a:lnTo>
                      <a:pt x="6996" y="335"/>
                    </a:lnTo>
                    <a:lnTo>
                      <a:pt x="7036" y="319"/>
                    </a:lnTo>
                    <a:lnTo>
                      <a:pt x="7068" y="307"/>
                    </a:lnTo>
                    <a:lnTo>
                      <a:pt x="7096" y="299"/>
                    </a:lnTo>
                    <a:lnTo>
                      <a:pt x="7105" y="295"/>
                    </a:lnTo>
                    <a:lnTo>
                      <a:pt x="7113" y="291"/>
                    </a:lnTo>
                    <a:lnTo>
                      <a:pt x="7141" y="291"/>
                    </a:lnTo>
                    <a:lnTo>
                      <a:pt x="7173" y="287"/>
                    </a:lnTo>
                    <a:lnTo>
                      <a:pt x="7189" y="287"/>
                    </a:lnTo>
                    <a:lnTo>
                      <a:pt x="7213" y="287"/>
                    </a:lnTo>
                    <a:lnTo>
                      <a:pt x="7254" y="299"/>
                    </a:lnTo>
                    <a:lnTo>
                      <a:pt x="7266" y="307"/>
                    </a:lnTo>
                    <a:lnTo>
                      <a:pt x="7270" y="311"/>
                    </a:lnTo>
                    <a:lnTo>
                      <a:pt x="7278" y="327"/>
                    </a:lnTo>
                    <a:lnTo>
                      <a:pt x="7294" y="331"/>
                    </a:lnTo>
                    <a:lnTo>
                      <a:pt x="7306" y="343"/>
                    </a:lnTo>
                    <a:lnTo>
                      <a:pt x="7351" y="383"/>
                    </a:lnTo>
                    <a:lnTo>
                      <a:pt x="7371" y="412"/>
                    </a:lnTo>
                    <a:lnTo>
                      <a:pt x="7379" y="412"/>
                    </a:lnTo>
                    <a:lnTo>
                      <a:pt x="7383" y="412"/>
                    </a:lnTo>
                    <a:lnTo>
                      <a:pt x="7387" y="404"/>
                    </a:lnTo>
                    <a:lnTo>
                      <a:pt x="7395" y="392"/>
                    </a:lnTo>
                    <a:lnTo>
                      <a:pt x="7399" y="383"/>
                    </a:lnTo>
                    <a:lnTo>
                      <a:pt x="7403" y="379"/>
                    </a:lnTo>
                    <a:lnTo>
                      <a:pt x="7403" y="371"/>
                    </a:lnTo>
                    <a:lnTo>
                      <a:pt x="7403" y="363"/>
                    </a:lnTo>
                    <a:lnTo>
                      <a:pt x="7411" y="359"/>
                    </a:lnTo>
                    <a:lnTo>
                      <a:pt x="7423" y="347"/>
                    </a:lnTo>
                    <a:lnTo>
                      <a:pt x="7435" y="347"/>
                    </a:lnTo>
                    <a:lnTo>
                      <a:pt x="7447" y="347"/>
                    </a:lnTo>
                    <a:lnTo>
                      <a:pt x="7452" y="355"/>
                    </a:lnTo>
                    <a:lnTo>
                      <a:pt x="7464" y="359"/>
                    </a:lnTo>
                    <a:lnTo>
                      <a:pt x="7468" y="367"/>
                    </a:lnTo>
                    <a:lnTo>
                      <a:pt x="7476" y="375"/>
                    </a:lnTo>
                    <a:lnTo>
                      <a:pt x="7476" y="379"/>
                    </a:lnTo>
                    <a:lnTo>
                      <a:pt x="7484" y="392"/>
                    </a:lnTo>
                    <a:lnTo>
                      <a:pt x="7496" y="392"/>
                    </a:lnTo>
                    <a:lnTo>
                      <a:pt x="7512" y="392"/>
                    </a:lnTo>
                    <a:lnTo>
                      <a:pt x="7516" y="392"/>
                    </a:lnTo>
                    <a:lnTo>
                      <a:pt x="7516" y="396"/>
                    </a:lnTo>
                    <a:lnTo>
                      <a:pt x="7532" y="400"/>
                    </a:lnTo>
                    <a:lnTo>
                      <a:pt x="7552" y="404"/>
                    </a:lnTo>
                    <a:lnTo>
                      <a:pt x="7589" y="424"/>
                    </a:lnTo>
                    <a:lnTo>
                      <a:pt x="7597" y="432"/>
                    </a:lnTo>
                    <a:lnTo>
                      <a:pt x="7605" y="432"/>
                    </a:lnTo>
                    <a:lnTo>
                      <a:pt x="7617" y="436"/>
                    </a:lnTo>
                    <a:lnTo>
                      <a:pt x="7613" y="456"/>
                    </a:lnTo>
                    <a:lnTo>
                      <a:pt x="7613" y="464"/>
                    </a:lnTo>
                    <a:lnTo>
                      <a:pt x="7613" y="476"/>
                    </a:lnTo>
                    <a:lnTo>
                      <a:pt x="7613" y="492"/>
                    </a:lnTo>
                    <a:lnTo>
                      <a:pt x="7617" y="513"/>
                    </a:lnTo>
                    <a:lnTo>
                      <a:pt x="7617" y="533"/>
                    </a:lnTo>
                    <a:lnTo>
                      <a:pt x="7609" y="537"/>
                    </a:lnTo>
                    <a:lnTo>
                      <a:pt x="7597" y="549"/>
                    </a:lnTo>
                    <a:lnTo>
                      <a:pt x="7593" y="549"/>
                    </a:lnTo>
                    <a:lnTo>
                      <a:pt x="7581" y="549"/>
                    </a:lnTo>
                    <a:lnTo>
                      <a:pt x="7581" y="541"/>
                    </a:lnTo>
                    <a:lnTo>
                      <a:pt x="7577" y="541"/>
                    </a:lnTo>
                    <a:lnTo>
                      <a:pt x="7552" y="541"/>
                    </a:lnTo>
                    <a:lnTo>
                      <a:pt x="7496" y="549"/>
                    </a:lnTo>
                    <a:lnTo>
                      <a:pt x="7460" y="533"/>
                    </a:lnTo>
                    <a:lnTo>
                      <a:pt x="7447" y="529"/>
                    </a:lnTo>
                    <a:lnTo>
                      <a:pt x="7447" y="525"/>
                    </a:lnTo>
                    <a:lnTo>
                      <a:pt x="7439" y="513"/>
                    </a:lnTo>
                    <a:lnTo>
                      <a:pt x="7431" y="525"/>
                    </a:lnTo>
                    <a:lnTo>
                      <a:pt x="7423" y="533"/>
                    </a:lnTo>
                    <a:lnTo>
                      <a:pt x="7387" y="533"/>
                    </a:lnTo>
                    <a:lnTo>
                      <a:pt x="7367" y="529"/>
                    </a:lnTo>
                    <a:lnTo>
                      <a:pt x="7355" y="517"/>
                    </a:lnTo>
                    <a:lnTo>
                      <a:pt x="7330" y="504"/>
                    </a:lnTo>
                    <a:lnTo>
                      <a:pt x="7326" y="496"/>
                    </a:lnTo>
                    <a:lnTo>
                      <a:pt x="7318" y="480"/>
                    </a:lnTo>
                    <a:lnTo>
                      <a:pt x="7314" y="476"/>
                    </a:lnTo>
                    <a:lnTo>
                      <a:pt x="7302" y="468"/>
                    </a:lnTo>
                    <a:lnTo>
                      <a:pt x="7290" y="464"/>
                    </a:lnTo>
                    <a:lnTo>
                      <a:pt x="7270" y="464"/>
                    </a:lnTo>
                    <a:lnTo>
                      <a:pt x="7254" y="464"/>
                    </a:lnTo>
                    <a:lnTo>
                      <a:pt x="7238" y="464"/>
                    </a:lnTo>
                    <a:lnTo>
                      <a:pt x="7218" y="460"/>
                    </a:lnTo>
                    <a:lnTo>
                      <a:pt x="7201" y="456"/>
                    </a:lnTo>
                    <a:lnTo>
                      <a:pt x="7189" y="448"/>
                    </a:lnTo>
                    <a:lnTo>
                      <a:pt x="7185" y="436"/>
                    </a:lnTo>
                    <a:lnTo>
                      <a:pt x="7177" y="420"/>
                    </a:lnTo>
                    <a:lnTo>
                      <a:pt x="7165" y="400"/>
                    </a:lnTo>
                    <a:lnTo>
                      <a:pt x="7161" y="400"/>
                    </a:lnTo>
                    <a:lnTo>
                      <a:pt x="7157" y="396"/>
                    </a:lnTo>
                    <a:lnTo>
                      <a:pt x="7149" y="404"/>
                    </a:lnTo>
                    <a:lnTo>
                      <a:pt x="7133" y="412"/>
                    </a:lnTo>
                    <a:lnTo>
                      <a:pt x="7133" y="420"/>
                    </a:lnTo>
                    <a:lnTo>
                      <a:pt x="7129" y="428"/>
                    </a:lnTo>
                    <a:lnTo>
                      <a:pt x="7121" y="436"/>
                    </a:lnTo>
                    <a:lnTo>
                      <a:pt x="7109" y="444"/>
                    </a:lnTo>
                    <a:lnTo>
                      <a:pt x="7084" y="444"/>
                    </a:lnTo>
                    <a:lnTo>
                      <a:pt x="7064" y="444"/>
                    </a:lnTo>
                    <a:lnTo>
                      <a:pt x="7060" y="444"/>
                    </a:lnTo>
                    <a:lnTo>
                      <a:pt x="7052" y="436"/>
                    </a:lnTo>
                    <a:lnTo>
                      <a:pt x="7048" y="432"/>
                    </a:lnTo>
                    <a:lnTo>
                      <a:pt x="7036" y="428"/>
                    </a:lnTo>
                    <a:lnTo>
                      <a:pt x="7028" y="428"/>
                    </a:lnTo>
                    <a:lnTo>
                      <a:pt x="7016" y="428"/>
                    </a:lnTo>
                    <a:lnTo>
                      <a:pt x="6984" y="452"/>
                    </a:lnTo>
                    <a:lnTo>
                      <a:pt x="6935" y="480"/>
                    </a:lnTo>
                    <a:lnTo>
                      <a:pt x="6911" y="488"/>
                    </a:lnTo>
                    <a:lnTo>
                      <a:pt x="6907" y="488"/>
                    </a:lnTo>
                    <a:lnTo>
                      <a:pt x="6879" y="488"/>
                    </a:lnTo>
                    <a:lnTo>
                      <a:pt x="6850" y="488"/>
                    </a:lnTo>
                    <a:lnTo>
                      <a:pt x="6850" y="492"/>
                    </a:lnTo>
                    <a:lnTo>
                      <a:pt x="6834" y="496"/>
                    </a:lnTo>
                    <a:lnTo>
                      <a:pt x="6822" y="500"/>
                    </a:lnTo>
                    <a:lnTo>
                      <a:pt x="6798" y="500"/>
                    </a:lnTo>
                    <a:lnTo>
                      <a:pt x="6774" y="500"/>
                    </a:lnTo>
                    <a:lnTo>
                      <a:pt x="6770" y="504"/>
                    </a:lnTo>
                    <a:lnTo>
                      <a:pt x="6758" y="513"/>
                    </a:lnTo>
                    <a:lnTo>
                      <a:pt x="6741" y="513"/>
                    </a:lnTo>
                    <a:lnTo>
                      <a:pt x="6653" y="504"/>
                    </a:lnTo>
                    <a:lnTo>
                      <a:pt x="6600" y="500"/>
                    </a:lnTo>
                    <a:lnTo>
                      <a:pt x="6568" y="496"/>
                    </a:lnTo>
                    <a:lnTo>
                      <a:pt x="6528" y="492"/>
                    </a:lnTo>
                    <a:lnTo>
                      <a:pt x="6520" y="496"/>
                    </a:lnTo>
                    <a:lnTo>
                      <a:pt x="6487" y="500"/>
                    </a:lnTo>
                    <a:lnTo>
                      <a:pt x="6467" y="513"/>
                    </a:lnTo>
                    <a:lnTo>
                      <a:pt x="6451" y="517"/>
                    </a:lnTo>
                    <a:lnTo>
                      <a:pt x="6435" y="529"/>
                    </a:lnTo>
                    <a:lnTo>
                      <a:pt x="6423" y="537"/>
                    </a:lnTo>
                    <a:lnTo>
                      <a:pt x="6423" y="541"/>
                    </a:lnTo>
                    <a:lnTo>
                      <a:pt x="6423" y="549"/>
                    </a:lnTo>
                    <a:lnTo>
                      <a:pt x="6431" y="549"/>
                    </a:lnTo>
                    <a:lnTo>
                      <a:pt x="6435" y="549"/>
                    </a:lnTo>
                    <a:lnTo>
                      <a:pt x="6443" y="565"/>
                    </a:lnTo>
                    <a:lnTo>
                      <a:pt x="6447" y="577"/>
                    </a:lnTo>
                    <a:lnTo>
                      <a:pt x="6463" y="581"/>
                    </a:lnTo>
                    <a:lnTo>
                      <a:pt x="6483" y="581"/>
                    </a:lnTo>
                    <a:lnTo>
                      <a:pt x="6503" y="585"/>
                    </a:lnTo>
                    <a:lnTo>
                      <a:pt x="6520" y="597"/>
                    </a:lnTo>
                    <a:lnTo>
                      <a:pt x="6528" y="601"/>
                    </a:lnTo>
                    <a:lnTo>
                      <a:pt x="6528" y="605"/>
                    </a:lnTo>
                    <a:lnTo>
                      <a:pt x="6532" y="605"/>
                    </a:lnTo>
                    <a:lnTo>
                      <a:pt x="6544" y="605"/>
                    </a:lnTo>
                    <a:lnTo>
                      <a:pt x="6548" y="597"/>
                    </a:lnTo>
                    <a:lnTo>
                      <a:pt x="6556" y="589"/>
                    </a:lnTo>
                    <a:lnTo>
                      <a:pt x="6572" y="589"/>
                    </a:lnTo>
                    <a:lnTo>
                      <a:pt x="6592" y="589"/>
                    </a:lnTo>
                    <a:lnTo>
                      <a:pt x="6629" y="605"/>
                    </a:lnTo>
                    <a:lnTo>
                      <a:pt x="6669" y="613"/>
                    </a:lnTo>
                    <a:lnTo>
                      <a:pt x="6673" y="613"/>
                    </a:lnTo>
                    <a:lnTo>
                      <a:pt x="6677" y="613"/>
                    </a:lnTo>
                    <a:lnTo>
                      <a:pt x="6677" y="609"/>
                    </a:lnTo>
                    <a:lnTo>
                      <a:pt x="6673" y="605"/>
                    </a:lnTo>
                    <a:lnTo>
                      <a:pt x="6669" y="597"/>
                    </a:lnTo>
                    <a:lnTo>
                      <a:pt x="6661" y="589"/>
                    </a:lnTo>
                    <a:lnTo>
                      <a:pt x="6661" y="569"/>
                    </a:lnTo>
                    <a:lnTo>
                      <a:pt x="6661" y="549"/>
                    </a:lnTo>
                    <a:lnTo>
                      <a:pt x="6673" y="549"/>
                    </a:lnTo>
                    <a:lnTo>
                      <a:pt x="6681" y="549"/>
                    </a:lnTo>
                    <a:lnTo>
                      <a:pt x="6697" y="549"/>
                    </a:lnTo>
                    <a:lnTo>
                      <a:pt x="6713" y="549"/>
                    </a:lnTo>
                    <a:lnTo>
                      <a:pt x="6717" y="553"/>
                    </a:lnTo>
                    <a:lnTo>
                      <a:pt x="6750" y="565"/>
                    </a:lnTo>
                    <a:lnTo>
                      <a:pt x="6758" y="565"/>
                    </a:lnTo>
                    <a:lnTo>
                      <a:pt x="6766" y="565"/>
                    </a:lnTo>
                    <a:lnTo>
                      <a:pt x="6770" y="565"/>
                    </a:lnTo>
                    <a:lnTo>
                      <a:pt x="6774" y="561"/>
                    </a:lnTo>
                    <a:lnTo>
                      <a:pt x="6778" y="553"/>
                    </a:lnTo>
                    <a:lnTo>
                      <a:pt x="6786" y="549"/>
                    </a:lnTo>
                    <a:lnTo>
                      <a:pt x="6794" y="549"/>
                    </a:lnTo>
                    <a:lnTo>
                      <a:pt x="6818" y="549"/>
                    </a:lnTo>
                    <a:lnTo>
                      <a:pt x="6826" y="549"/>
                    </a:lnTo>
                    <a:lnTo>
                      <a:pt x="6846" y="561"/>
                    </a:lnTo>
                    <a:lnTo>
                      <a:pt x="6850" y="573"/>
                    </a:lnTo>
                    <a:lnTo>
                      <a:pt x="6854" y="585"/>
                    </a:lnTo>
                    <a:lnTo>
                      <a:pt x="6854" y="626"/>
                    </a:lnTo>
                    <a:lnTo>
                      <a:pt x="6858" y="658"/>
                    </a:lnTo>
                    <a:lnTo>
                      <a:pt x="6854" y="662"/>
                    </a:lnTo>
                    <a:lnTo>
                      <a:pt x="6850" y="666"/>
                    </a:lnTo>
                    <a:lnTo>
                      <a:pt x="6846" y="670"/>
                    </a:lnTo>
                    <a:lnTo>
                      <a:pt x="6834" y="670"/>
                    </a:lnTo>
                    <a:lnTo>
                      <a:pt x="6842" y="682"/>
                    </a:lnTo>
                    <a:lnTo>
                      <a:pt x="6842" y="698"/>
                    </a:lnTo>
                    <a:lnTo>
                      <a:pt x="6854" y="706"/>
                    </a:lnTo>
                    <a:lnTo>
                      <a:pt x="6867" y="718"/>
                    </a:lnTo>
                    <a:lnTo>
                      <a:pt x="6875" y="718"/>
                    </a:lnTo>
                    <a:lnTo>
                      <a:pt x="6883" y="718"/>
                    </a:lnTo>
                    <a:lnTo>
                      <a:pt x="6887" y="718"/>
                    </a:lnTo>
                    <a:lnTo>
                      <a:pt x="6895" y="706"/>
                    </a:lnTo>
                    <a:lnTo>
                      <a:pt x="6895" y="694"/>
                    </a:lnTo>
                    <a:lnTo>
                      <a:pt x="6899" y="674"/>
                    </a:lnTo>
                    <a:lnTo>
                      <a:pt x="6903" y="674"/>
                    </a:lnTo>
                    <a:lnTo>
                      <a:pt x="6907" y="670"/>
                    </a:lnTo>
                    <a:lnTo>
                      <a:pt x="6907" y="662"/>
                    </a:lnTo>
                    <a:lnTo>
                      <a:pt x="6911" y="654"/>
                    </a:lnTo>
                    <a:lnTo>
                      <a:pt x="6947" y="654"/>
                    </a:lnTo>
                    <a:lnTo>
                      <a:pt x="6963" y="654"/>
                    </a:lnTo>
                    <a:lnTo>
                      <a:pt x="6963" y="658"/>
                    </a:lnTo>
                    <a:lnTo>
                      <a:pt x="6967" y="662"/>
                    </a:lnTo>
                    <a:lnTo>
                      <a:pt x="6980" y="662"/>
                    </a:lnTo>
                    <a:lnTo>
                      <a:pt x="6992" y="662"/>
                    </a:lnTo>
                    <a:lnTo>
                      <a:pt x="7000" y="674"/>
                    </a:lnTo>
                    <a:lnTo>
                      <a:pt x="7016" y="694"/>
                    </a:lnTo>
                    <a:lnTo>
                      <a:pt x="7016" y="702"/>
                    </a:lnTo>
                    <a:lnTo>
                      <a:pt x="7016" y="710"/>
                    </a:lnTo>
                    <a:lnTo>
                      <a:pt x="7000" y="730"/>
                    </a:lnTo>
                    <a:lnTo>
                      <a:pt x="6984" y="747"/>
                    </a:lnTo>
                    <a:lnTo>
                      <a:pt x="7000" y="747"/>
                    </a:lnTo>
                    <a:lnTo>
                      <a:pt x="7020" y="751"/>
                    </a:lnTo>
                    <a:lnTo>
                      <a:pt x="7024" y="755"/>
                    </a:lnTo>
                    <a:lnTo>
                      <a:pt x="7036" y="767"/>
                    </a:lnTo>
                    <a:lnTo>
                      <a:pt x="7048" y="787"/>
                    </a:lnTo>
                    <a:lnTo>
                      <a:pt x="7052" y="795"/>
                    </a:lnTo>
                    <a:lnTo>
                      <a:pt x="7064" y="807"/>
                    </a:lnTo>
                    <a:lnTo>
                      <a:pt x="7072" y="815"/>
                    </a:lnTo>
                    <a:lnTo>
                      <a:pt x="7080" y="819"/>
                    </a:lnTo>
                    <a:lnTo>
                      <a:pt x="7092" y="819"/>
                    </a:lnTo>
                    <a:lnTo>
                      <a:pt x="7101" y="827"/>
                    </a:lnTo>
                    <a:lnTo>
                      <a:pt x="7109" y="855"/>
                    </a:lnTo>
                    <a:lnTo>
                      <a:pt x="7113" y="855"/>
                    </a:lnTo>
                    <a:lnTo>
                      <a:pt x="7121" y="855"/>
                    </a:lnTo>
                    <a:lnTo>
                      <a:pt x="7121" y="892"/>
                    </a:lnTo>
                    <a:lnTo>
                      <a:pt x="7121" y="928"/>
                    </a:lnTo>
                    <a:lnTo>
                      <a:pt x="7109" y="936"/>
                    </a:lnTo>
                    <a:lnTo>
                      <a:pt x="7101" y="944"/>
                    </a:lnTo>
                    <a:lnTo>
                      <a:pt x="7092" y="944"/>
                    </a:lnTo>
                    <a:lnTo>
                      <a:pt x="7080" y="944"/>
                    </a:lnTo>
                    <a:lnTo>
                      <a:pt x="7076" y="940"/>
                    </a:lnTo>
                    <a:lnTo>
                      <a:pt x="7064" y="928"/>
                    </a:lnTo>
                    <a:lnTo>
                      <a:pt x="7048" y="924"/>
                    </a:lnTo>
                    <a:lnTo>
                      <a:pt x="7032" y="924"/>
                    </a:lnTo>
                    <a:lnTo>
                      <a:pt x="7024" y="920"/>
                    </a:lnTo>
                    <a:lnTo>
                      <a:pt x="7020" y="920"/>
                    </a:lnTo>
                    <a:lnTo>
                      <a:pt x="7016" y="916"/>
                    </a:lnTo>
                    <a:lnTo>
                      <a:pt x="7012" y="880"/>
                    </a:lnTo>
                    <a:lnTo>
                      <a:pt x="7008" y="872"/>
                    </a:lnTo>
                    <a:lnTo>
                      <a:pt x="6992" y="864"/>
                    </a:lnTo>
                    <a:lnTo>
                      <a:pt x="6967" y="860"/>
                    </a:lnTo>
                    <a:lnTo>
                      <a:pt x="6967" y="864"/>
                    </a:lnTo>
                    <a:lnTo>
                      <a:pt x="6955" y="864"/>
                    </a:lnTo>
                    <a:lnTo>
                      <a:pt x="6947" y="864"/>
                    </a:lnTo>
                    <a:lnTo>
                      <a:pt x="6935" y="860"/>
                    </a:lnTo>
                    <a:lnTo>
                      <a:pt x="6927" y="860"/>
                    </a:lnTo>
                    <a:lnTo>
                      <a:pt x="6915" y="864"/>
                    </a:lnTo>
                    <a:lnTo>
                      <a:pt x="6907" y="872"/>
                    </a:lnTo>
                    <a:lnTo>
                      <a:pt x="6879" y="872"/>
                    </a:lnTo>
                    <a:lnTo>
                      <a:pt x="6850" y="868"/>
                    </a:lnTo>
                    <a:lnTo>
                      <a:pt x="6842" y="864"/>
                    </a:lnTo>
                    <a:lnTo>
                      <a:pt x="6834" y="864"/>
                    </a:lnTo>
                    <a:lnTo>
                      <a:pt x="6830" y="855"/>
                    </a:lnTo>
                    <a:lnTo>
                      <a:pt x="6826" y="847"/>
                    </a:lnTo>
                    <a:lnTo>
                      <a:pt x="6822" y="831"/>
                    </a:lnTo>
                    <a:lnTo>
                      <a:pt x="6818" y="819"/>
                    </a:lnTo>
                    <a:lnTo>
                      <a:pt x="6818" y="815"/>
                    </a:lnTo>
                    <a:lnTo>
                      <a:pt x="6814" y="811"/>
                    </a:lnTo>
                    <a:lnTo>
                      <a:pt x="6786" y="807"/>
                    </a:lnTo>
                    <a:lnTo>
                      <a:pt x="6758" y="807"/>
                    </a:lnTo>
                    <a:lnTo>
                      <a:pt x="6733" y="783"/>
                    </a:lnTo>
                    <a:lnTo>
                      <a:pt x="6709" y="767"/>
                    </a:lnTo>
                    <a:lnTo>
                      <a:pt x="6705" y="755"/>
                    </a:lnTo>
                    <a:lnTo>
                      <a:pt x="6705" y="751"/>
                    </a:lnTo>
                    <a:lnTo>
                      <a:pt x="6697" y="747"/>
                    </a:lnTo>
                    <a:lnTo>
                      <a:pt x="6681" y="734"/>
                    </a:lnTo>
                    <a:lnTo>
                      <a:pt x="6677" y="734"/>
                    </a:lnTo>
                    <a:lnTo>
                      <a:pt x="6673" y="730"/>
                    </a:lnTo>
                    <a:lnTo>
                      <a:pt x="6669" y="730"/>
                    </a:lnTo>
                    <a:lnTo>
                      <a:pt x="6661" y="734"/>
                    </a:lnTo>
                    <a:lnTo>
                      <a:pt x="6657" y="743"/>
                    </a:lnTo>
                    <a:lnTo>
                      <a:pt x="6653" y="751"/>
                    </a:lnTo>
                    <a:lnTo>
                      <a:pt x="6645" y="751"/>
                    </a:lnTo>
                    <a:lnTo>
                      <a:pt x="6633" y="755"/>
                    </a:lnTo>
                    <a:lnTo>
                      <a:pt x="6633" y="767"/>
                    </a:lnTo>
                    <a:lnTo>
                      <a:pt x="6633" y="775"/>
                    </a:lnTo>
                    <a:lnTo>
                      <a:pt x="6625" y="783"/>
                    </a:lnTo>
                    <a:lnTo>
                      <a:pt x="6620" y="795"/>
                    </a:lnTo>
                    <a:lnTo>
                      <a:pt x="6604" y="799"/>
                    </a:lnTo>
                    <a:lnTo>
                      <a:pt x="6592" y="811"/>
                    </a:lnTo>
                    <a:lnTo>
                      <a:pt x="6592" y="827"/>
                    </a:lnTo>
                    <a:lnTo>
                      <a:pt x="6592" y="847"/>
                    </a:lnTo>
                    <a:lnTo>
                      <a:pt x="6580" y="851"/>
                    </a:lnTo>
                    <a:lnTo>
                      <a:pt x="6576" y="855"/>
                    </a:lnTo>
                    <a:lnTo>
                      <a:pt x="6520" y="872"/>
                    </a:lnTo>
                    <a:lnTo>
                      <a:pt x="6512" y="876"/>
                    </a:lnTo>
                    <a:lnTo>
                      <a:pt x="6503" y="876"/>
                    </a:lnTo>
                    <a:lnTo>
                      <a:pt x="6491" y="876"/>
                    </a:lnTo>
                    <a:lnTo>
                      <a:pt x="6491" y="864"/>
                    </a:lnTo>
                    <a:lnTo>
                      <a:pt x="6491" y="855"/>
                    </a:lnTo>
                    <a:lnTo>
                      <a:pt x="6491" y="835"/>
                    </a:lnTo>
                    <a:lnTo>
                      <a:pt x="6495" y="823"/>
                    </a:lnTo>
                    <a:lnTo>
                      <a:pt x="6512" y="815"/>
                    </a:lnTo>
                    <a:lnTo>
                      <a:pt x="6520" y="807"/>
                    </a:lnTo>
                    <a:lnTo>
                      <a:pt x="6528" y="787"/>
                    </a:lnTo>
                    <a:lnTo>
                      <a:pt x="6532" y="767"/>
                    </a:lnTo>
                    <a:lnTo>
                      <a:pt x="6532" y="734"/>
                    </a:lnTo>
                    <a:lnTo>
                      <a:pt x="6528" y="722"/>
                    </a:lnTo>
                    <a:lnTo>
                      <a:pt x="6516" y="706"/>
                    </a:lnTo>
                    <a:lnTo>
                      <a:pt x="6503" y="694"/>
                    </a:lnTo>
                    <a:lnTo>
                      <a:pt x="6483" y="690"/>
                    </a:lnTo>
                    <a:lnTo>
                      <a:pt x="6459" y="682"/>
                    </a:lnTo>
                    <a:lnTo>
                      <a:pt x="6447" y="682"/>
                    </a:lnTo>
                    <a:lnTo>
                      <a:pt x="6427" y="682"/>
                    </a:lnTo>
                    <a:lnTo>
                      <a:pt x="6399" y="690"/>
                    </a:lnTo>
                    <a:lnTo>
                      <a:pt x="6395" y="694"/>
                    </a:lnTo>
                    <a:lnTo>
                      <a:pt x="6326" y="694"/>
                    </a:lnTo>
                    <a:lnTo>
                      <a:pt x="6257" y="694"/>
                    </a:lnTo>
                    <a:lnTo>
                      <a:pt x="6249" y="690"/>
                    </a:lnTo>
                    <a:lnTo>
                      <a:pt x="6233" y="682"/>
                    </a:lnTo>
                    <a:lnTo>
                      <a:pt x="6221" y="654"/>
                    </a:lnTo>
                    <a:lnTo>
                      <a:pt x="6205" y="634"/>
                    </a:lnTo>
                    <a:lnTo>
                      <a:pt x="6205" y="626"/>
                    </a:lnTo>
                    <a:lnTo>
                      <a:pt x="6201" y="617"/>
                    </a:lnTo>
                    <a:lnTo>
                      <a:pt x="6197" y="613"/>
                    </a:lnTo>
                    <a:lnTo>
                      <a:pt x="6189" y="609"/>
                    </a:lnTo>
                    <a:lnTo>
                      <a:pt x="6185" y="597"/>
                    </a:lnTo>
                    <a:lnTo>
                      <a:pt x="6181" y="585"/>
                    </a:lnTo>
                    <a:lnTo>
                      <a:pt x="6173" y="573"/>
                    </a:lnTo>
                    <a:lnTo>
                      <a:pt x="6157" y="561"/>
                    </a:lnTo>
                    <a:lnTo>
                      <a:pt x="6116" y="561"/>
                    </a:lnTo>
                    <a:lnTo>
                      <a:pt x="6068" y="561"/>
                    </a:lnTo>
                    <a:lnTo>
                      <a:pt x="6056" y="541"/>
                    </a:lnTo>
                    <a:lnTo>
                      <a:pt x="6040" y="533"/>
                    </a:lnTo>
                    <a:lnTo>
                      <a:pt x="6027" y="533"/>
                    </a:lnTo>
                    <a:lnTo>
                      <a:pt x="6015" y="533"/>
                    </a:lnTo>
                    <a:lnTo>
                      <a:pt x="5999" y="525"/>
                    </a:lnTo>
                    <a:lnTo>
                      <a:pt x="5987" y="525"/>
                    </a:lnTo>
                    <a:lnTo>
                      <a:pt x="5983" y="529"/>
                    </a:lnTo>
                    <a:lnTo>
                      <a:pt x="5975" y="529"/>
                    </a:lnTo>
                    <a:lnTo>
                      <a:pt x="5923" y="529"/>
                    </a:lnTo>
                    <a:lnTo>
                      <a:pt x="5866" y="529"/>
                    </a:lnTo>
                    <a:lnTo>
                      <a:pt x="5862" y="525"/>
                    </a:lnTo>
                    <a:lnTo>
                      <a:pt x="5850" y="525"/>
                    </a:lnTo>
                    <a:lnTo>
                      <a:pt x="5842" y="533"/>
                    </a:lnTo>
                    <a:lnTo>
                      <a:pt x="5830" y="549"/>
                    </a:lnTo>
                    <a:lnTo>
                      <a:pt x="5818" y="549"/>
                    </a:lnTo>
                    <a:lnTo>
                      <a:pt x="5785" y="549"/>
                    </a:lnTo>
                    <a:lnTo>
                      <a:pt x="5753" y="549"/>
                    </a:lnTo>
                    <a:lnTo>
                      <a:pt x="5733" y="533"/>
                    </a:lnTo>
                    <a:lnTo>
                      <a:pt x="5725" y="525"/>
                    </a:lnTo>
                    <a:lnTo>
                      <a:pt x="5685" y="517"/>
                    </a:lnTo>
                    <a:lnTo>
                      <a:pt x="5648" y="517"/>
                    </a:lnTo>
                    <a:lnTo>
                      <a:pt x="5644" y="513"/>
                    </a:lnTo>
                    <a:lnTo>
                      <a:pt x="5612" y="513"/>
                    </a:lnTo>
                    <a:lnTo>
                      <a:pt x="5588" y="513"/>
                    </a:lnTo>
                    <a:lnTo>
                      <a:pt x="5555" y="513"/>
                    </a:lnTo>
                    <a:lnTo>
                      <a:pt x="5499" y="504"/>
                    </a:lnTo>
                    <a:lnTo>
                      <a:pt x="5495" y="513"/>
                    </a:lnTo>
                    <a:lnTo>
                      <a:pt x="5487" y="513"/>
                    </a:lnTo>
                    <a:lnTo>
                      <a:pt x="5479" y="533"/>
                    </a:lnTo>
                    <a:lnTo>
                      <a:pt x="5475" y="549"/>
                    </a:lnTo>
                    <a:lnTo>
                      <a:pt x="5475" y="553"/>
                    </a:lnTo>
                    <a:lnTo>
                      <a:pt x="5475" y="569"/>
                    </a:lnTo>
                    <a:lnTo>
                      <a:pt x="5475" y="573"/>
                    </a:lnTo>
                    <a:lnTo>
                      <a:pt x="5479" y="577"/>
                    </a:lnTo>
                    <a:lnTo>
                      <a:pt x="5487" y="581"/>
                    </a:lnTo>
                    <a:lnTo>
                      <a:pt x="5495" y="585"/>
                    </a:lnTo>
                    <a:lnTo>
                      <a:pt x="5527" y="589"/>
                    </a:lnTo>
                    <a:lnTo>
                      <a:pt x="5555" y="597"/>
                    </a:lnTo>
                    <a:lnTo>
                      <a:pt x="5559" y="597"/>
                    </a:lnTo>
                    <a:lnTo>
                      <a:pt x="5564" y="601"/>
                    </a:lnTo>
                    <a:lnTo>
                      <a:pt x="5564" y="609"/>
                    </a:lnTo>
                    <a:lnTo>
                      <a:pt x="5564" y="617"/>
                    </a:lnTo>
                    <a:lnTo>
                      <a:pt x="5547" y="634"/>
                    </a:lnTo>
                    <a:lnTo>
                      <a:pt x="5527" y="654"/>
                    </a:lnTo>
                    <a:lnTo>
                      <a:pt x="5523" y="654"/>
                    </a:lnTo>
                    <a:lnTo>
                      <a:pt x="5515" y="654"/>
                    </a:lnTo>
                    <a:lnTo>
                      <a:pt x="5523" y="658"/>
                    </a:lnTo>
                    <a:lnTo>
                      <a:pt x="5511" y="666"/>
                    </a:lnTo>
                    <a:lnTo>
                      <a:pt x="5499" y="674"/>
                    </a:lnTo>
                    <a:lnTo>
                      <a:pt x="5499" y="706"/>
                    </a:lnTo>
                    <a:lnTo>
                      <a:pt x="5503" y="743"/>
                    </a:lnTo>
                    <a:lnTo>
                      <a:pt x="5507" y="751"/>
                    </a:lnTo>
                    <a:lnTo>
                      <a:pt x="5511" y="767"/>
                    </a:lnTo>
                    <a:lnTo>
                      <a:pt x="5511" y="811"/>
                    </a:lnTo>
                    <a:lnTo>
                      <a:pt x="5511" y="860"/>
                    </a:lnTo>
                    <a:lnTo>
                      <a:pt x="5507" y="872"/>
                    </a:lnTo>
                    <a:lnTo>
                      <a:pt x="5503" y="884"/>
                    </a:lnTo>
                    <a:lnTo>
                      <a:pt x="5503" y="892"/>
                    </a:lnTo>
                    <a:lnTo>
                      <a:pt x="5499" y="892"/>
                    </a:lnTo>
                    <a:lnTo>
                      <a:pt x="5483" y="896"/>
                    </a:lnTo>
                    <a:lnTo>
                      <a:pt x="5463" y="900"/>
                    </a:lnTo>
                    <a:lnTo>
                      <a:pt x="5447" y="912"/>
                    </a:lnTo>
                    <a:lnTo>
                      <a:pt x="5430" y="920"/>
                    </a:lnTo>
                    <a:lnTo>
                      <a:pt x="5414" y="920"/>
                    </a:lnTo>
                    <a:lnTo>
                      <a:pt x="5398" y="920"/>
                    </a:lnTo>
                    <a:lnTo>
                      <a:pt x="5390" y="924"/>
                    </a:lnTo>
                    <a:lnTo>
                      <a:pt x="5378" y="928"/>
                    </a:lnTo>
                    <a:lnTo>
                      <a:pt x="5313" y="944"/>
                    </a:lnTo>
                    <a:lnTo>
                      <a:pt x="5281" y="952"/>
                    </a:lnTo>
                    <a:lnTo>
                      <a:pt x="5277" y="960"/>
                    </a:lnTo>
                    <a:lnTo>
                      <a:pt x="5269" y="964"/>
                    </a:lnTo>
                    <a:lnTo>
                      <a:pt x="5249" y="964"/>
                    </a:lnTo>
                    <a:lnTo>
                      <a:pt x="5225" y="964"/>
                    </a:lnTo>
                    <a:lnTo>
                      <a:pt x="5213" y="960"/>
                    </a:lnTo>
                    <a:lnTo>
                      <a:pt x="5188" y="956"/>
                    </a:lnTo>
                    <a:lnTo>
                      <a:pt x="5184" y="952"/>
                    </a:lnTo>
                    <a:lnTo>
                      <a:pt x="5172" y="944"/>
                    </a:lnTo>
                    <a:lnTo>
                      <a:pt x="5144" y="940"/>
                    </a:lnTo>
                    <a:lnTo>
                      <a:pt x="5112" y="928"/>
                    </a:lnTo>
                    <a:lnTo>
                      <a:pt x="5104" y="920"/>
                    </a:lnTo>
                    <a:lnTo>
                      <a:pt x="5100" y="916"/>
                    </a:lnTo>
                    <a:lnTo>
                      <a:pt x="5087" y="912"/>
                    </a:lnTo>
                    <a:lnTo>
                      <a:pt x="5083" y="912"/>
                    </a:lnTo>
                    <a:lnTo>
                      <a:pt x="5071" y="900"/>
                    </a:lnTo>
                    <a:lnTo>
                      <a:pt x="5059" y="892"/>
                    </a:lnTo>
                    <a:lnTo>
                      <a:pt x="5043" y="884"/>
                    </a:lnTo>
                    <a:lnTo>
                      <a:pt x="5031" y="884"/>
                    </a:lnTo>
                    <a:lnTo>
                      <a:pt x="5019" y="892"/>
                    </a:lnTo>
                    <a:lnTo>
                      <a:pt x="5003" y="892"/>
                    </a:lnTo>
                    <a:lnTo>
                      <a:pt x="4979" y="904"/>
                    </a:lnTo>
                    <a:lnTo>
                      <a:pt x="4946" y="928"/>
                    </a:lnTo>
                    <a:lnTo>
                      <a:pt x="4938" y="940"/>
                    </a:lnTo>
                    <a:lnTo>
                      <a:pt x="4930" y="948"/>
                    </a:lnTo>
                    <a:lnTo>
                      <a:pt x="4914" y="952"/>
                    </a:lnTo>
                    <a:lnTo>
                      <a:pt x="4890" y="956"/>
                    </a:lnTo>
                    <a:lnTo>
                      <a:pt x="4870" y="956"/>
                    </a:lnTo>
                    <a:lnTo>
                      <a:pt x="4845" y="956"/>
                    </a:lnTo>
                    <a:lnTo>
                      <a:pt x="4841" y="952"/>
                    </a:lnTo>
                    <a:lnTo>
                      <a:pt x="4833" y="952"/>
                    </a:lnTo>
                    <a:lnTo>
                      <a:pt x="4825" y="952"/>
                    </a:lnTo>
                    <a:lnTo>
                      <a:pt x="4817" y="956"/>
                    </a:lnTo>
                    <a:lnTo>
                      <a:pt x="4765" y="956"/>
                    </a:lnTo>
                    <a:lnTo>
                      <a:pt x="4712" y="956"/>
                    </a:lnTo>
                    <a:lnTo>
                      <a:pt x="4696" y="960"/>
                    </a:lnTo>
                    <a:lnTo>
                      <a:pt x="4676" y="960"/>
                    </a:lnTo>
                    <a:lnTo>
                      <a:pt x="4664" y="977"/>
                    </a:lnTo>
                    <a:lnTo>
                      <a:pt x="4652" y="985"/>
                    </a:lnTo>
                    <a:lnTo>
                      <a:pt x="4652" y="993"/>
                    </a:lnTo>
                    <a:lnTo>
                      <a:pt x="4644" y="1001"/>
                    </a:lnTo>
                    <a:lnTo>
                      <a:pt x="4644" y="1025"/>
                    </a:lnTo>
                    <a:lnTo>
                      <a:pt x="4640" y="1053"/>
                    </a:lnTo>
                    <a:lnTo>
                      <a:pt x="4616" y="1061"/>
                    </a:lnTo>
                    <a:lnTo>
                      <a:pt x="4591" y="1069"/>
                    </a:lnTo>
                    <a:lnTo>
                      <a:pt x="4583" y="1077"/>
                    </a:lnTo>
                    <a:lnTo>
                      <a:pt x="4575" y="1089"/>
                    </a:lnTo>
                    <a:lnTo>
                      <a:pt x="4567" y="1098"/>
                    </a:lnTo>
                    <a:lnTo>
                      <a:pt x="4559" y="1106"/>
                    </a:lnTo>
                    <a:lnTo>
                      <a:pt x="4559" y="1122"/>
                    </a:lnTo>
                    <a:lnTo>
                      <a:pt x="4559" y="1142"/>
                    </a:lnTo>
                    <a:lnTo>
                      <a:pt x="4527" y="1150"/>
                    </a:lnTo>
                    <a:lnTo>
                      <a:pt x="4494" y="1154"/>
                    </a:lnTo>
                    <a:lnTo>
                      <a:pt x="4490" y="1158"/>
                    </a:lnTo>
                    <a:lnTo>
                      <a:pt x="4486" y="1158"/>
                    </a:lnTo>
                    <a:lnTo>
                      <a:pt x="4478" y="1166"/>
                    </a:lnTo>
                    <a:lnTo>
                      <a:pt x="4474" y="1170"/>
                    </a:lnTo>
                    <a:lnTo>
                      <a:pt x="4458" y="1174"/>
                    </a:lnTo>
                    <a:lnTo>
                      <a:pt x="4434" y="1174"/>
                    </a:lnTo>
                    <a:lnTo>
                      <a:pt x="4422" y="1182"/>
                    </a:lnTo>
                    <a:lnTo>
                      <a:pt x="4418" y="1190"/>
                    </a:lnTo>
                    <a:lnTo>
                      <a:pt x="4422" y="1223"/>
                    </a:lnTo>
                    <a:lnTo>
                      <a:pt x="4422" y="1259"/>
                    </a:lnTo>
                    <a:lnTo>
                      <a:pt x="4422" y="1271"/>
                    </a:lnTo>
                    <a:lnTo>
                      <a:pt x="4418" y="1291"/>
                    </a:lnTo>
                    <a:lnTo>
                      <a:pt x="4398" y="1295"/>
                    </a:lnTo>
                    <a:lnTo>
                      <a:pt x="4382" y="1303"/>
                    </a:lnTo>
                    <a:lnTo>
                      <a:pt x="4377" y="1311"/>
                    </a:lnTo>
                    <a:lnTo>
                      <a:pt x="4365" y="1319"/>
                    </a:lnTo>
                    <a:lnTo>
                      <a:pt x="4365" y="1328"/>
                    </a:lnTo>
                    <a:lnTo>
                      <a:pt x="4361" y="1340"/>
                    </a:lnTo>
                    <a:lnTo>
                      <a:pt x="4361" y="1344"/>
                    </a:lnTo>
                    <a:lnTo>
                      <a:pt x="4357" y="1344"/>
                    </a:lnTo>
                    <a:lnTo>
                      <a:pt x="4357" y="1368"/>
                    </a:lnTo>
                    <a:lnTo>
                      <a:pt x="4357" y="1392"/>
                    </a:lnTo>
                    <a:lnTo>
                      <a:pt x="4345" y="1404"/>
                    </a:lnTo>
                    <a:lnTo>
                      <a:pt x="4329" y="1424"/>
                    </a:lnTo>
                    <a:lnTo>
                      <a:pt x="4325" y="1428"/>
                    </a:lnTo>
                    <a:lnTo>
                      <a:pt x="4313" y="1440"/>
                    </a:lnTo>
                    <a:lnTo>
                      <a:pt x="4297" y="1465"/>
                    </a:lnTo>
                    <a:lnTo>
                      <a:pt x="4281" y="1481"/>
                    </a:lnTo>
                    <a:lnTo>
                      <a:pt x="4273" y="1485"/>
                    </a:lnTo>
                    <a:lnTo>
                      <a:pt x="4265" y="1489"/>
                    </a:lnTo>
                    <a:lnTo>
                      <a:pt x="4232" y="1493"/>
                    </a:lnTo>
                    <a:lnTo>
                      <a:pt x="4216" y="1501"/>
                    </a:lnTo>
                    <a:lnTo>
                      <a:pt x="4184" y="1501"/>
                    </a:lnTo>
                    <a:lnTo>
                      <a:pt x="4115" y="1489"/>
                    </a:lnTo>
                    <a:lnTo>
                      <a:pt x="4099" y="1485"/>
                    </a:lnTo>
                    <a:lnTo>
                      <a:pt x="4079" y="1477"/>
                    </a:lnTo>
                    <a:lnTo>
                      <a:pt x="4071" y="1465"/>
                    </a:lnTo>
                    <a:lnTo>
                      <a:pt x="4063" y="1449"/>
                    </a:lnTo>
                    <a:lnTo>
                      <a:pt x="4047" y="1445"/>
                    </a:lnTo>
                    <a:lnTo>
                      <a:pt x="4018" y="1440"/>
                    </a:lnTo>
                    <a:lnTo>
                      <a:pt x="4018" y="1436"/>
                    </a:lnTo>
                    <a:lnTo>
                      <a:pt x="4014" y="1424"/>
                    </a:lnTo>
                    <a:lnTo>
                      <a:pt x="4002" y="1424"/>
                    </a:lnTo>
                    <a:lnTo>
                      <a:pt x="3990" y="1416"/>
                    </a:lnTo>
                    <a:lnTo>
                      <a:pt x="3978" y="1408"/>
                    </a:lnTo>
                    <a:lnTo>
                      <a:pt x="3974" y="1404"/>
                    </a:lnTo>
                    <a:lnTo>
                      <a:pt x="3962" y="1404"/>
                    </a:lnTo>
                    <a:lnTo>
                      <a:pt x="3946" y="1400"/>
                    </a:lnTo>
                    <a:lnTo>
                      <a:pt x="3926" y="1400"/>
                    </a:lnTo>
                    <a:lnTo>
                      <a:pt x="3914" y="1400"/>
                    </a:lnTo>
                    <a:lnTo>
                      <a:pt x="3905" y="1408"/>
                    </a:lnTo>
                    <a:lnTo>
                      <a:pt x="3893" y="1424"/>
                    </a:lnTo>
                    <a:lnTo>
                      <a:pt x="3885" y="1424"/>
                    </a:lnTo>
                    <a:lnTo>
                      <a:pt x="3877" y="1424"/>
                    </a:lnTo>
                    <a:lnTo>
                      <a:pt x="3857" y="1440"/>
                    </a:lnTo>
                    <a:lnTo>
                      <a:pt x="3833" y="1457"/>
                    </a:lnTo>
                    <a:lnTo>
                      <a:pt x="3821" y="1465"/>
                    </a:lnTo>
                    <a:lnTo>
                      <a:pt x="3809" y="1465"/>
                    </a:lnTo>
                    <a:lnTo>
                      <a:pt x="3801" y="1473"/>
                    </a:lnTo>
                    <a:lnTo>
                      <a:pt x="3797" y="1477"/>
                    </a:lnTo>
                    <a:lnTo>
                      <a:pt x="3789" y="1481"/>
                    </a:lnTo>
                    <a:lnTo>
                      <a:pt x="3776" y="1485"/>
                    </a:lnTo>
                    <a:lnTo>
                      <a:pt x="3772" y="1489"/>
                    </a:lnTo>
                    <a:lnTo>
                      <a:pt x="3772" y="1493"/>
                    </a:lnTo>
                    <a:lnTo>
                      <a:pt x="3772" y="1509"/>
                    </a:lnTo>
                    <a:lnTo>
                      <a:pt x="3776" y="1521"/>
                    </a:lnTo>
                    <a:lnTo>
                      <a:pt x="3772" y="1521"/>
                    </a:lnTo>
                    <a:lnTo>
                      <a:pt x="3768" y="1525"/>
                    </a:lnTo>
                    <a:lnTo>
                      <a:pt x="3768" y="1549"/>
                    </a:lnTo>
                    <a:lnTo>
                      <a:pt x="3764" y="1566"/>
                    </a:lnTo>
                    <a:lnTo>
                      <a:pt x="3760" y="1570"/>
                    </a:lnTo>
                    <a:lnTo>
                      <a:pt x="3756" y="1574"/>
                    </a:lnTo>
                    <a:lnTo>
                      <a:pt x="3740" y="1578"/>
                    </a:lnTo>
                    <a:lnTo>
                      <a:pt x="3728" y="1582"/>
                    </a:lnTo>
                    <a:lnTo>
                      <a:pt x="3716" y="1594"/>
                    </a:lnTo>
                    <a:lnTo>
                      <a:pt x="3708" y="1606"/>
                    </a:lnTo>
                    <a:lnTo>
                      <a:pt x="3667" y="1606"/>
                    </a:lnTo>
                    <a:lnTo>
                      <a:pt x="3635" y="1610"/>
                    </a:lnTo>
                    <a:lnTo>
                      <a:pt x="3635" y="1598"/>
                    </a:lnTo>
                    <a:lnTo>
                      <a:pt x="3635" y="1582"/>
                    </a:lnTo>
                    <a:lnTo>
                      <a:pt x="3619" y="1582"/>
                    </a:lnTo>
                    <a:lnTo>
                      <a:pt x="3595" y="1578"/>
                    </a:lnTo>
                    <a:lnTo>
                      <a:pt x="3587" y="1574"/>
                    </a:lnTo>
                    <a:lnTo>
                      <a:pt x="3583" y="1570"/>
                    </a:lnTo>
                    <a:lnTo>
                      <a:pt x="3567" y="1570"/>
                    </a:lnTo>
                    <a:lnTo>
                      <a:pt x="3526" y="1574"/>
                    </a:lnTo>
                    <a:lnTo>
                      <a:pt x="3494" y="1566"/>
                    </a:lnTo>
                    <a:lnTo>
                      <a:pt x="3458" y="1562"/>
                    </a:lnTo>
                    <a:lnTo>
                      <a:pt x="3454" y="1562"/>
                    </a:lnTo>
                    <a:lnTo>
                      <a:pt x="3442" y="1566"/>
                    </a:lnTo>
                    <a:lnTo>
                      <a:pt x="3438" y="1574"/>
                    </a:lnTo>
                    <a:lnTo>
                      <a:pt x="3434" y="1578"/>
                    </a:lnTo>
                    <a:lnTo>
                      <a:pt x="3409" y="1594"/>
                    </a:lnTo>
                    <a:lnTo>
                      <a:pt x="3377" y="1610"/>
                    </a:lnTo>
                    <a:lnTo>
                      <a:pt x="3317" y="1626"/>
                    </a:lnTo>
                    <a:lnTo>
                      <a:pt x="3280" y="1642"/>
                    </a:lnTo>
                    <a:lnTo>
                      <a:pt x="3260" y="1646"/>
                    </a:lnTo>
                    <a:lnTo>
                      <a:pt x="3228" y="1654"/>
                    </a:lnTo>
                    <a:lnTo>
                      <a:pt x="3224" y="1658"/>
                    </a:lnTo>
                    <a:lnTo>
                      <a:pt x="3216" y="1662"/>
                    </a:lnTo>
                    <a:lnTo>
                      <a:pt x="3195" y="1670"/>
                    </a:lnTo>
                    <a:lnTo>
                      <a:pt x="3163" y="1674"/>
                    </a:lnTo>
                    <a:lnTo>
                      <a:pt x="3163" y="1683"/>
                    </a:lnTo>
                    <a:lnTo>
                      <a:pt x="3143" y="1687"/>
                    </a:lnTo>
                    <a:lnTo>
                      <a:pt x="3119" y="1691"/>
                    </a:lnTo>
                    <a:lnTo>
                      <a:pt x="3103" y="1695"/>
                    </a:lnTo>
                    <a:lnTo>
                      <a:pt x="3095" y="1699"/>
                    </a:lnTo>
                    <a:lnTo>
                      <a:pt x="3083" y="1699"/>
                    </a:lnTo>
                    <a:lnTo>
                      <a:pt x="3066" y="1699"/>
                    </a:lnTo>
                    <a:lnTo>
                      <a:pt x="3050" y="1695"/>
                    </a:lnTo>
                    <a:lnTo>
                      <a:pt x="3014" y="1691"/>
                    </a:lnTo>
                    <a:lnTo>
                      <a:pt x="3006" y="1683"/>
                    </a:lnTo>
                    <a:lnTo>
                      <a:pt x="2990" y="1674"/>
                    </a:lnTo>
                    <a:lnTo>
                      <a:pt x="2970" y="1674"/>
                    </a:lnTo>
                    <a:lnTo>
                      <a:pt x="2949" y="1674"/>
                    </a:lnTo>
                    <a:lnTo>
                      <a:pt x="2917" y="1666"/>
                    </a:lnTo>
                    <a:lnTo>
                      <a:pt x="2881" y="1662"/>
                    </a:lnTo>
                    <a:lnTo>
                      <a:pt x="2861" y="1662"/>
                    </a:lnTo>
                    <a:lnTo>
                      <a:pt x="2836" y="1662"/>
                    </a:lnTo>
                    <a:lnTo>
                      <a:pt x="2816" y="1666"/>
                    </a:lnTo>
                    <a:lnTo>
                      <a:pt x="2796" y="1670"/>
                    </a:lnTo>
                    <a:lnTo>
                      <a:pt x="2792" y="1707"/>
                    </a:lnTo>
                    <a:lnTo>
                      <a:pt x="2788" y="1719"/>
                    </a:lnTo>
                    <a:lnTo>
                      <a:pt x="2784" y="1723"/>
                    </a:lnTo>
                    <a:lnTo>
                      <a:pt x="2776" y="1731"/>
                    </a:lnTo>
                    <a:lnTo>
                      <a:pt x="2744" y="1743"/>
                    </a:lnTo>
                    <a:lnTo>
                      <a:pt x="2736" y="1743"/>
                    </a:lnTo>
                    <a:lnTo>
                      <a:pt x="2728" y="1743"/>
                    </a:lnTo>
                    <a:lnTo>
                      <a:pt x="2711" y="1743"/>
                    </a:lnTo>
                    <a:lnTo>
                      <a:pt x="2707" y="1743"/>
                    </a:lnTo>
                    <a:lnTo>
                      <a:pt x="2699" y="1747"/>
                    </a:lnTo>
                    <a:lnTo>
                      <a:pt x="2675" y="1755"/>
                    </a:lnTo>
                    <a:lnTo>
                      <a:pt x="2647" y="1755"/>
                    </a:lnTo>
                    <a:lnTo>
                      <a:pt x="2643" y="1747"/>
                    </a:lnTo>
                    <a:lnTo>
                      <a:pt x="2635" y="1743"/>
                    </a:lnTo>
                    <a:lnTo>
                      <a:pt x="2627" y="1743"/>
                    </a:lnTo>
                    <a:lnTo>
                      <a:pt x="2619" y="1743"/>
                    </a:lnTo>
                    <a:lnTo>
                      <a:pt x="2607" y="1731"/>
                    </a:lnTo>
                    <a:lnTo>
                      <a:pt x="2594" y="1723"/>
                    </a:lnTo>
                    <a:lnTo>
                      <a:pt x="2586" y="1707"/>
                    </a:lnTo>
                    <a:lnTo>
                      <a:pt x="2578" y="1695"/>
                    </a:lnTo>
                    <a:lnTo>
                      <a:pt x="2566" y="1695"/>
                    </a:lnTo>
                    <a:lnTo>
                      <a:pt x="2554" y="1695"/>
                    </a:lnTo>
                    <a:lnTo>
                      <a:pt x="2546" y="1707"/>
                    </a:lnTo>
                    <a:lnTo>
                      <a:pt x="2534" y="1719"/>
                    </a:lnTo>
                    <a:lnTo>
                      <a:pt x="2530" y="1727"/>
                    </a:lnTo>
                    <a:lnTo>
                      <a:pt x="2526" y="1735"/>
                    </a:lnTo>
                    <a:lnTo>
                      <a:pt x="2514" y="1747"/>
                    </a:lnTo>
                    <a:lnTo>
                      <a:pt x="2510" y="1763"/>
                    </a:lnTo>
                    <a:lnTo>
                      <a:pt x="2502" y="1763"/>
                    </a:lnTo>
                    <a:lnTo>
                      <a:pt x="2498" y="1767"/>
                    </a:lnTo>
                    <a:lnTo>
                      <a:pt x="2498" y="1775"/>
                    </a:lnTo>
                    <a:lnTo>
                      <a:pt x="2490" y="1783"/>
                    </a:lnTo>
                    <a:lnTo>
                      <a:pt x="2485" y="1791"/>
                    </a:lnTo>
                    <a:lnTo>
                      <a:pt x="2477" y="1796"/>
                    </a:lnTo>
                    <a:lnTo>
                      <a:pt x="2473" y="1804"/>
                    </a:lnTo>
                    <a:lnTo>
                      <a:pt x="2469" y="1812"/>
                    </a:lnTo>
                    <a:lnTo>
                      <a:pt x="2449" y="1812"/>
                    </a:lnTo>
                    <a:lnTo>
                      <a:pt x="2429" y="1816"/>
                    </a:lnTo>
                    <a:lnTo>
                      <a:pt x="2425" y="1820"/>
                    </a:lnTo>
                    <a:lnTo>
                      <a:pt x="2405" y="1828"/>
                    </a:lnTo>
                    <a:lnTo>
                      <a:pt x="2373" y="1832"/>
                    </a:lnTo>
                    <a:lnTo>
                      <a:pt x="2332" y="1844"/>
                    </a:lnTo>
                    <a:lnTo>
                      <a:pt x="2292" y="1844"/>
                    </a:lnTo>
                    <a:lnTo>
                      <a:pt x="2256" y="1844"/>
                    </a:lnTo>
                    <a:lnTo>
                      <a:pt x="2239" y="1840"/>
                    </a:lnTo>
                    <a:lnTo>
                      <a:pt x="2215" y="1832"/>
                    </a:lnTo>
                    <a:lnTo>
                      <a:pt x="2199" y="1824"/>
                    </a:lnTo>
                    <a:lnTo>
                      <a:pt x="2183" y="1816"/>
                    </a:lnTo>
                    <a:lnTo>
                      <a:pt x="2167" y="1800"/>
                    </a:lnTo>
                    <a:lnTo>
                      <a:pt x="2155" y="1796"/>
                    </a:lnTo>
                    <a:lnTo>
                      <a:pt x="2151" y="1796"/>
                    </a:lnTo>
                    <a:lnTo>
                      <a:pt x="2147" y="1796"/>
                    </a:lnTo>
                    <a:lnTo>
                      <a:pt x="2143" y="1800"/>
                    </a:lnTo>
                    <a:lnTo>
                      <a:pt x="2139" y="1800"/>
                    </a:lnTo>
                    <a:lnTo>
                      <a:pt x="2126" y="1820"/>
                    </a:lnTo>
                    <a:lnTo>
                      <a:pt x="2118" y="1840"/>
                    </a:lnTo>
                    <a:lnTo>
                      <a:pt x="2114" y="1852"/>
                    </a:lnTo>
                    <a:lnTo>
                      <a:pt x="2102" y="1864"/>
                    </a:lnTo>
                    <a:lnTo>
                      <a:pt x="2102" y="1896"/>
                    </a:lnTo>
                    <a:lnTo>
                      <a:pt x="2098" y="1929"/>
                    </a:lnTo>
                    <a:lnTo>
                      <a:pt x="2090" y="1949"/>
                    </a:lnTo>
                    <a:lnTo>
                      <a:pt x="2078" y="1961"/>
                    </a:lnTo>
                    <a:lnTo>
                      <a:pt x="2062" y="1965"/>
                    </a:lnTo>
                    <a:lnTo>
                      <a:pt x="2050" y="1973"/>
                    </a:lnTo>
                    <a:lnTo>
                      <a:pt x="2026" y="1977"/>
                    </a:lnTo>
                    <a:lnTo>
                      <a:pt x="2005" y="1981"/>
                    </a:lnTo>
                    <a:lnTo>
                      <a:pt x="1997" y="1985"/>
                    </a:lnTo>
                    <a:lnTo>
                      <a:pt x="1985" y="2001"/>
                    </a:lnTo>
                    <a:lnTo>
                      <a:pt x="1969" y="2005"/>
                    </a:lnTo>
                    <a:lnTo>
                      <a:pt x="1953" y="2013"/>
                    </a:lnTo>
                    <a:lnTo>
                      <a:pt x="1945" y="2013"/>
                    </a:lnTo>
                    <a:lnTo>
                      <a:pt x="1933" y="2017"/>
                    </a:lnTo>
                    <a:lnTo>
                      <a:pt x="1933" y="2021"/>
                    </a:lnTo>
                    <a:lnTo>
                      <a:pt x="1933" y="2025"/>
                    </a:lnTo>
                    <a:lnTo>
                      <a:pt x="1905" y="2042"/>
                    </a:lnTo>
                    <a:lnTo>
                      <a:pt x="1892" y="2046"/>
                    </a:lnTo>
                    <a:lnTo>
                      <a:pt x="1864" y="2062"/>
                    </a:lnTo>
                    <a:lnTo>
                      <a:pt x="1836" y="2082"/>
                    </a:lnTo>
                    <a:lnTo>
                      <a:pt x="1836" y="2090"/>
                    </a:lnTo>
                    <a:lnTo>
                      <a:pt x="1832" y="2098"/>
                    </a:lnTo>
                    <a:lnTo>
                      <a:pt x="1828" y="2098"/>
                    </a:lnTo>
                    <a:lnTo>
                      <a:pt x="1828" y="2102"/>
                    </a:lnTo>
                    <a:lnTo>
                      <a:pt x="1820" y="2098"/>
                    </a:lnTo>
                    <a:lnTo>
                      <a:pt x="1816" y="2102"/>
                    </a:lnTo>
                    <a:lnTo>
                      <a:pt x="1804" y="2102"/>
                    </a:lnTo>
                    <a:lnTo>
                      <a:pt x="1796" y="2110"/>
                    </a:lnTo>
                    <a:lnTo>
                      <a:pt x="1792" y="2114"/>
                    </a:lnTo>
                    <a:lnTo>
                      <a:pt x="1784" y="2114"/>
                    </a:lnTo>
                    <a:lnTo>
                      <a:pt x="1775" y="2118"/>
                    </a:lnTo>
                    <a:lnTo>
                      <a:pt x="1775" y="2122"/>
                    </a:lnTo>
                    <a:lnTo>
                      <a:pt x="1775" y="2130"/>
                    </a:lnTo>
                    <a:lnTo>
                      <a:pt x="1780" y="2134"/>
                    </a:lnTo>
                    <a:lnTo>
                      <a:pt x="1775" y="2138"/>
                    </a:lnTo>
                    <a:lnTo>
                      <a:pt x="1771" y="2142"/>
                    </a:lnTo>
                    <a:lnTo>
                      <a:pt x="1743" y="2155"/>
                    </a:lnTo>
                    <a:lnTo>
                      <a:pt x="1711" y="2171"/>
                    </a:lnTo>
                    <a:lnTo>
                      <a:pt x="1691" y="2195"/>
                    </a:lnTo>
                    <a:lnTo>
                      <a:pt x="1671" y="2215"/>
                    </a:lnTo>
                    <a:lnTo>
                      <a:pt x="1675" y="2219"/>
                    </a:lnTo>
                    <a:lnTo>
                      <a:pt x="1687" y="2227"/>
                    </a:lnTo>
                    <a:lnTo>
                      <a:pt x="1687" y="2231"/>
                    </a:lnTo>
                    <a:lnTo>
                      <a:pt x="1691" y="2243"/>
                    </a:lnTo>
                    <a:lnTo>
                      <a:pt x="1691" y="2255"/>
                    </a:lnTo>
                    <a:lnTo>
                      <a:pt x="1687" y="2264"/>
                    </a:lnTo>
                    <a:lnTo>
                      <a:pt x="1671" y="2264"/>
                    </a:lnTo>
                    <a:lnTo>
                      <a:pt x="1650" y="2264"/>
                    </a:lnTo>
                    <a:lnTo>
                      <a:pt x="1642" y="2264"/>
                    </a:lnTo>
                    <a:lnTo>
                      <a:pt x="1638" y="2259"/>
                    </a:lnTo>
                    <a:lnTo>
                      <a:pt x="1626" y="2247"/>
                    </a:lnTo>
                    <a:lnTo>
                      <a:pt x="1606" y="2231"/>
                    </a:lnTo>
                    <a:lnTo>
                      <a:pt x="1606" y="2207"/>
                    </a:lnTo>
                    <a:lnTo>
                      <a:pt x="1610" y="2191"/>
                    </a:lnTo>
                    <a:lnTo>
                      <a:pt x="1606" y="2191"/>
                    </a:lnTo>
                    <a:lnTo>
                      <a:pt x="1594" y="2191"/>
                    </a:lnTo>
                    <a:lnTo>
                      <a:pt x="1578" y="2199"/>
                    </a:lnTo>
                    <a:lnTo>
                      <a:pt x="1517" y="2223"/>
                    </a:lnTo>
                    <a:lnTo>
                      <a:pt x="1509" y="2227"/>
                    </a:lnTo>
                    <a:lnTo>
                      <a:pt x="1505" y="2231"/>
                    </a:lnTo>
                    <a:lnTo>
                      <a:pt x="1501" y="2243"/>
                    </a:lnTo>
                    <a:lnTo>
                      <a:pt x="1497" y="2255"/>
                    </a:lnTo>
                    <a:lnTo>
                      <a:pt x="1497" y="2296"/>
                    </a:lnTo>
                    <a:lnTo>
                      <a:pt x="1493" y="2340"/>
                    </a:lnTo>
                    <a:lnTo>
                      <a:pt x="1485" y="2356"/>
                    </a:lnTo>
                    <a:lnTo>
                      <a:pt x="1477" y="2376"/>
                    </a:lnTo>
                    <a:lnTo>
                      <a:pt x="1473" y="2393"/>
                    </a:lnTo>
                    <a:lnTo>
                      <a:pt x="1473" y="2405"/>
                    </a:lnTo>
                    <a:lnTo>
                      <a:pt x="1465" y="2417"/>
                    </a:lnTo>
                    <a:lnTo>
                      <a:pt x="1453" y="2429"/>
                    </a:lnTo>
                    <a:lnTo>
                      <a:pt x="1453" y="2453"/>
                    </a:lnTo>
                    <a:lnTo>
                      <a:pt x="1453" y="2473"/>
                    </a:lnTo>
                    <a:lnTo>
                      <a:pt x="1449" y="2477"/>
                    </a:lnTo>
                    <a:lnTo>
                      <a:pt x="1445" y="2485"/>
                    </a:lnTo>
                    <a:lnTo>
                      <a:pt x="1445" y="2498"/>
                    </a:lnTo>
                    <a:lnTo>
                      <a:pt x="1441" y="2510"/>
                    </a:lnTo>
                    <a:lnTo>
                      <a:pt x="1437" y="2518"/>
                    </a:lnTo>
                    <a:lnTo>
                      <a:pt x="1433" y="2526"/>
                    </a:lnTo>
                    <a:lnTo>
                      <a:pt x="1420" y="2538"/>
                    </a:lnTo>
                    <a:lnTo>
                      <a:pt x="1400" y="2554"/>
                    </a:lnTo>
                    <a:lnTo>
                      <a:pt x="1384" y="2554"/>
                    </a:lnTo>
                    <a:lnTo>
                      <a:pt x="1360" y="2558"/>
                    </a:lnTo>
                    <a:lnTo>
                      <a:pt x="1356" y="2530"/>
                    </a:lnTo>
                    <a:lnTo>
                      <a:pt x="1352" y="2526"/>
                    </a:lnTo>
                    <a:lnTo>
                      <a:pt x="1332" y="2522"/>
                    </a:lnTo>
                    <a:lnTo>
                      <a:pt x="1312" y="2518"/>
                    </a:lnTo>
                    <a:lnTo>
                      <a:pt x="1312" y="2522"/>
                    </a:lnTo>
                    <a:lnTo>
                      <a:pt x="1308" y="2522"/>
                    </a:lnTo>
                    <a:lnTo>
                      <a:pt x="1251" y="2526"/>
                    </a:lnTo>
                    <a:lnTo>
                      <a:pt x="1235" y="2530"/>
                    </a:lnTo>
                    <a:lnTo>
                      <a:pt x="1207" y="2530"/>
                    </a:lnTo>
                    <a:lnTo>
                      <a:pt x="1170" y="2526"/>
                    </a:lnTo>
                    <a:lnTo>
                      <a:pt x="1134" y="2542"/>
                    </a:lnTo>
                    <a:lnTo>
                      <a:pt x="1126" y="2546"/>
                    </a:lnTo>
                    <a:lnTo>
                      <a:pt x="1098" y="2550"/>
                    </a:lnTo>
                    <a:lnTo>
                      <a:pt x="1094" y="2554"/>
                    </a:lnTo>
                    <a:lnTo>
                      <a:pt x="1045" y="2550"/>
                    </a:lnTo>
                    <a:lnTo>
                      <a:pt x="1013" y="2546"/>
                    </a:lnTo>
                    <a:lnTo>
                      <a:pt x="948" y="2550"/>
                    </a:lnTo>
                    <a:lnTo>
                      <a:pt x="932" y="2554"/>
                    </a:lnTo>
                    <a:lnTo>
                      <a:pt x="888" y="2554"/>
                    </a:lnTo>
                    <a:lnTo>
                      <a:pt x="864" y="2550"/>
                    </a:lnTo>
                    <a:lnTo>
                      <a:pt x="860" y="2550"/>
                    </a:lnTo>
                    <a:lnTo>
                      <a:pt x="856" y="2546"/>
                    </a:lnTo>
                    <a:lnTo>
                      <a:pt x="852" y="2538"/>
                    </a:lnTo>
                    <a:lnTo>
                      <a:pt x="852" y="2522"/>
                    </a:lnTo>
                    <a:lnTo>
                      <a:pt x="848" y="2526"/>
                    </a:lnTo>
                    <a:lnTo>
                      <a:pt x="840" y="2538"/>
                    </a:lnTo>
                    <a:lnTo>
                      <a:pt x="831" y="2538"/>
                    </a:lnTo>
                    <a:lnTo>
                      <a:pt x="819" y="2538"/>
                    </a:lnTo>
                    <a:lnTo>
                      <a:pt x="807" y="2546"/>
                    </a:lnTo>
                    <a:lnTo>
                      <a:pt x="799" y="2558"/>
                    </a:lnTo>
                    <a:lnTo>
                      <a:pt x="795" y="2586"/>
                    </a:lnTo>
                    <a:lnTo>
                      <a:pt x="787" y="2619"/>
                    </a:lnTo>
                    <a:lnTo>
                      <a:pt x="783" y="2619"/>
                    </a:lnTo>
                    <a:lnTo>
                      <a:pt x="775" y="2623"/>
                    </a:lnTo>
                    <a:lnTo>
                      <a:pt x="775" y="2655"/>
                    </a:lnTo>
                    <a:lnTo>
                      <a:pt x="771" y="2679"/>
                    </a:lnTo>
                    <a:lnTo>
                      <a:pt x="767" y="2683"/>
                    </a:lnTo>
                    <a:lnTo>
                      <a:pt x="759" y="2695"/>
                    </a:lnTo>
                    <a:lnTo>
                      <a:pt x="759" y="2732"/>
                    </a:lnTo>
                    <a:lnTo>
                      <a:pt x="759" y="2772"/>
                    </a:lnTo>
                    <a:lnTo>
                      <a:pt x="755" y="2776"/>
                    </a:lnTo>
                    <a:lnTo>
                      <a:pt x="755" y="2788"/>
                    </a:lnTo>
                    <a:lnTo>
                      <a:pt x="759" y="2808"/>
                    </a:lnTo>
                    <a:lnTo>
                      <a:pt x="775" y="2853"/>
                    </a:lnTo>
                    <a:lnTo>
                      <a:pt x="787" y="2861"/>
                    </a:lnTo>
                    <a:lnTo>
                      <a:pt x="795" y="2873"/>
                    </a:lnTo>
                    <a:lnTo>
                      <a:pt x="799" y="2881"/>
                    </a:lnTo>
                    <a:lnTo>
                      <a:pt x="803" y="2893"/>
                    </a:lnTo>
                    <a:lnTo>
                      <a:pt x="811" y="2897"/>
                    </a:lnTo>
                    <a:lnTo>
                      <a:pt x="823" y="2913"/>
                    </a:lnTo>
                    <a:lnTo>
                      <a:pt x="823" y="2937"/>
                    </a:lnTo>
                    <a:lnTo>
                      <a:pt x="823" y="2953"/>
                    </a:lnTo>
                    <a:lnTo>
                      <a:pt x="836" y="2961"/>
                    </a:lnTo>
                    <a:lnTo>
                      <a:pt x="852" y="2970"/>
                    </a:lnTo>
                    <a:lnTo>
                      <a:pt x="856" y="2970"/>
                    </a:lnTo>
                    <a:lnTo>
                      <a:pt x="856" y="2966"/>
                    </a:lnTo>
                    <a:lnTo>
                      <a:pt x="860" y="2961"/>
                    </a:lnTo>
                    <a:lnTo>
                      <a:pt x="860" y="2953"/>
                    </a:lnTo>
                    <a:lnTo>
                      <a:pt x="872" y="2949"/>
                    </a:lnTo>
                    <a:lnTo>
                      <a:pt x="876" y="2941"/>
                    </a:lnTo>
                    <a:lnTo>
                      <a:pt x="892" y="2941"/>
                    </a:lnTo>
                    <a:lnTo>
                      <a:pt x="908" y="2941"/>
                    </a:lnTo>
                    <a:lnTo>
                      <a:pt x="916" y="2949"/>
                    </a:lnTo>
                    <a:lnTo>
                      <a:pt x="924" y="2953"/>
                    </a:lnTo>
                    <a:lnTo>
                      <a:pt x="928" y="2953"/>
                    </a:lnTo>
                    <a:lnTo>
                      <a:pt x="936" y="2953"/>
                    </a:lnTo>
                    <a:lnTo>
                      <a:pt x="969" y="2953"/>
                    </a:lnTo>
                    <a:lnTo>
                      <a:pt x="997" y="2953"/>
                    </a:lnTo>
                    <a:lnTo>
                      <a:pt x="1005" y="2957"/>
                    </a:lnTo>
                    <a:lnTo>
                      <a:pt x="1013" y="2961"/>
                    </a:lnTo>
                    <a:lnTo>
                      <a:pt x="1013" y="2970"/>
                    </a:lnTo>
                    <a:lnTo>
                      <a:pt x="1025" y="2978"/>
                    </a:lnTo>
                    <a:lnTo>
                      <a:pt x="1029" y="2978"/>
                    </a:lnTo>
                    <a:lnTo>
                      <a:pt x="1033" y="2986"/>
                    </a:lnTo>
                    <a:lnTo>
                      <a:pt x="1033" y="2994"/>
                    </a:lnTo>
                    <a:lnTo>
                      <a:pt x="1033" y="3006"/>
                    </a:lnTo>
                    <a:lnTo>
                      <a:pt x="1029" y="3010"/>
                    </a:lnTo>
                    <a:lnTo>
                      <a:pt x="1029" y="3018"/>
                    </a:lnTo>
                    <a:lnTo>
                      <a:pt x="714" y="3018"/>
                    </a:lnTo>
                    <a:lnTo>
                      <a:pt x="714" y="3429"/>
                    </a:lnTo>
                    <a:lnTo>
                      <a:pt x="93" y="3429"/>
                    </a:lnTo>
                    <a:close/>
                  </a:path>
                </a:pathLst>
              </a:custGeom>
              <a:solidFill>
                <a:srgbClr val="00CC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21" name="Freeform 29"/>
              <p:cNvSpPr>
                <a:spLocks/>
              </p:cNvSpPr>
              <p:nvPr/>
            </p:nvSpPr>
            <p:spPr bwMode="auto">
              <a:xfrm>
                <a:off x="1517735" y="4209230"/>
                <a:ext cx="854076" cy="1076603"/>
              </a:xfrm>
              <a:custGeom>
                <a:avLst/>
                <a:gdLst>
                  <a:gd name="T0" fmla="*/ 545692107 w 952"/>
                  <a:gd name="T1" fmla="*/ 909179395 h 1210"/>
                  <a:gd name="T2" fmla="*/ 431402973 w 952"/>
                  <a:gd name="T3" fmla="*/ 881099402 h 1210"/>
                  <a:gd name="T4" fmla="*/ 324356542 w 952"/>
                  <a:gd name="T5" fmla="*/ 865921239 h 1210"/>
                  <a:gd name="T6" fmla="*/ 214092022 w 952"/>
                  <a:gd name="T7" fmla="*/ 897037213 h 1210"/>
                  <a:gd name="T8" fmla="*/ 169019840 w 952"/>
                  <a:gd name="T9" fmla="*/ 897037213 h 1210"/>
                  <a:gd name="T10" fmla="*/ 126362752 w 952"/>
                  <a:gd name="T11" fmla="*/ 853779058 h 1210"/>
                  <a:gd name="T12" fmla="*/ 100606808 w 952"/>
                  <a:gd name="T13" fmla="*/ 799136627 h 1210"/>
                  <a:gd name="T14" fmla="*/ 64388475 w 952"/>
                  <a:gd name="T15" fmla="*/ 796101517 h 1210"/>
                  <a:gd name="T16" fmla="*/ 41852370 w 952"/>
                  <a:gd name="T17" fmla="*/ 841636005 h 1210"/>
                  <a:gd name="T18" fmla="*/ 25755027 w 952"/>
                  <a:gd name="T19" fmla="*/ 832528933 h 1210"/>
                  <a:gd name="T20" fmla="*/ 0 w 952"/>
                  <a:gd name="T21" fmla="*/ 789270777 h 1210"/>
                  <a:gd name="T22" fmla="*/ 6438757 w 952"/>
                  <a:gd name="T23" fmla="*/ 768021524 h 1210"/>
                  <a:gd name="T24" fmla="*/ 123142926 w 952"/>
                  <a:gd name="T25" fmla="*/ 710343983 h 1210"/>
                  <a:gd name="T26" fmla="*/ 145679017 w 952"/>
                  <a:gd name="T27" fmla="*/ 682263990 h 1210"/>
                  <a:gd name="T28" fmla="*/ 175458595 w 952"/>
                  <a:gd name="T29" fmla="*/ 614720599 h 1210"/>
                  <a:gd name="T30" fmla="*/ 191555931 w 952"/>
                  <a:gd name="T31" fmla="*/ 578293183 h 1210"/>
                  <a:gd name="T32" fmla="*/ 276065431 w 952"/>
                  <a:gd name="T33" fmla="*/ 532757824 h 1210"/>
                  <a:gd name="T34" fmla="*/ 282504186 w 952"/>
                  <a:gd name="T35" fmla="*/ 495571630 h 1210"/>
                  <a:gd name="T36" fmla="*/ 330796194 w 952"/>
                  <a:gd name="T37" fmla="*/ 480392596 h 1210"/>
                  <a:gd name="T38" fmla="*/ 383111862 w 952"/>
                  <a:gd name="T39" fmla="*/ 468250414 h 1210"/>
                  <a:gd name="T40" fmla="*/ 408866882 w 952"/>
                  <a:gd name="T41" fmla="*/ 415885078 h 1210"/>
                  <a:gd name="T42" fmla="*/ 399208301 w 952"/>
                  <a:gd name="T43" fmla="*/ 376421680 h 1210"/>
                  <a:gd name="T44" fmla="*/ 346892632 w 952"/>
                  <a:gd name="T45" fmla="*/ 348341687 h 1210"/>
                  <a:gd name="T46" fmla="*/ 298601522 w 952"/>
                  <a:gd name="T47" fmla="*/ 324056453 h 1210"/>
                  <a:gd name="T48" fmla="*/ 269626676 w 952"/>
                  <a:gd name="T49" fmla="*/ 339234616 h 1210"/>
                  <a:gd name="T50" fmla="*/ 243066924 w 952"/>
                  <a:gd name="T51" fmla="*/ 385528752 h 1210"/>
                  <a:gd name="T52" fmla="*/ 217310951 w 952"/>
                  <a:gd name="T53" fmla="*/ 370350590 h 1210"/>
                  <a:gd name="T54" fmla="*/ 185117176 w 952"/>
                  <a:gd name="T55" fmla="*/ 339234616 h 1210"/>
                  <a:gd name="T56" fmla="*/ 197994686 w 952"/>
                  <a:gd name="T57" fmla="*/ 281557075 h 1210"/>
                  <a:gd name="T58" fmla="*/ 256749166 w 952"/>
                  <a:gd name="T59" fmla="*/ 269414893 h 1210"/>
                  <a:gd name="T60" fmla="*/ 269626676 w 952"/>
                  <a:gd name="T61" fmla="*/ 241334900 h 1210"/>
                  <a:gd name="T62" fmla="*/ 305040277 w 952"/>
                  <a:gd name="T63" fmla="*/ 210978520 h 1210"/>
                  <a:gd name="T64" fmla="*/ 308260103 w 952"/>
                  <a:gd name="T65" fmla="*/ 152542201 h 1210"/>
                  <a:gd name="T66" fmla="*/ 282504186 w 952"/>
                  <a:gd name="T67" fmla="*/ 125220986 h 1210"/>
                  <a:gd name="T68" fmla="*/ 279285257 w 952"/>
                  <a:gd name="T69" fmla="*/ 88792671 h 1210"/>
                  <a:gd name="T70" fmla="*/ 343673703 w 952"/>
                  <a:gd name="T71" fmla="*/ 75891712 h 1210"/>
                  <a:gd name="T72" fmla="*/ 383111862 w 952"/>
                  <a:gd name="T73" fmla="*/ 78926822 h 1210"/>
                  <a:gd name="T74" fmla="*/ 431402973 w 952"/>
                  <a:gd name="T75" fmla="*/ 66784640 h 1210"/>
                  <a:gd name="T76" fmla="*/ 467621306 w 952"/>
                  <a:gd name="T77" fmla="*/ 27321222 h 1210"/>
                  <a:gd name="T78" fmla="*/ 486937683 w 952"/>
                  <a:gd name="T79" fmla="*/ 6071093 h 1210"/>
                  <a:gd name="T80" fmla="*/ 552130862 w 952"/>
                  <a:gd name="T81" fmla="*/ 9107075 h 1210"/>
                  <a:gd name="T82" fmla="*/ 606861624 w 952"/>
                  <a:gd name="T83" fmla="*/ 33392320 h 1210"/>
                  <a:gd name="T84" fmla="*/ 662396222 w 952"/>
                  <a:gd name="T85" fmla="*/ 45534502 h 1210"/>
                  <a:gd name="T86" fmla="*/ 723565740 w 952"/>
                  <a:gd name="T87" fmla="*/ 57677568 h 1210"/>
                  <a:gd name="T88" fmla="*/ 720345914 w 952"/>
                  <a:gd name="T89" fmla="*/ 119149895 h 1210"/>
                  <a:gd name="T90" fmla="*/ 763003002 w 952"/>
                  <a:gd name="T91" fmla="*/ 161648402 h 1210"/>
                  <a:gd name="T92" fmla="*/ 746906563 w 952"/>
                  <a:gd name="T93" fmla="*/ 183657304 h 1210"/>
                  <a:gd name="T94" fmla="*/ 668834977 w 952"/>
                  <a:gd name="T95" fmla="*/ 238298919 h 1210"/>
                  <a:gd name="T96" fmla="*/ 652738538 w 952"/>
                  <a:gd name="T97" fmla="*/ 269414893 h 1210"/>
                  <a:gd name="T98" fmla="*/ 639860131 w 952"/>
                  <a:gd name="T99" fmla="*/ 397670934 h 1210"/>
                  <a:gd name="T100" fmla="*/ 659177293 w 952"/>
                  <a:gd name="T101" fmla="*/ 421956169 h 1210"/>
                  <a:gd name="T102" fmla="*/ 678493558 w 952"/>
                  <a:gd name="T103" fmla="*/ 468250414 h 1210"/>
                  <a:gd name="T104" fmla="*/ 691371068 w 952"/>
                  <a:gd name="T105" fmla="*/ 495571630 h 1210"/>
                  <a:gd name="T106" fmla="*/ 678493558 w 952"/>
                  <a:gd name="T107" fmla="*/ 513784902 h 1210"/>
                  <a:gd name="T108" fmla="*/ 675273732 w 952"/>
                  <a:gd name="T109" fmla="*/ 569186111 h 1210"/>
                  <a:gd name="T110" fmla="*/ 629397715 w 952"/>
                  <a:gd name="T111" fmla="*/ 639764611 h 1210"/>
                  <a:gd name="T112" fmla="*/ 590764289 w 952"/>
                  <a:gd name="T113" fmla="*/ 691371061 h 1210"/>
                  <a:gd name="T114" fmla="*/ 581105708 w 952"/>
                  <a:gd name="T115" fmla="*/ 719451054 h 1210"/>
                  <a:gd name="T116" fmla="*/ 581105708 w 952"/>
                  <a:gd name="T117" fmla="*/ 805208589 h 1210"/>
                  <a:gd name="T118" fmla="*/ 587545360 w 952"/>
                  <a:gd name="T119" fmla="*/ 915250704 h 121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52"/>
                  <a:gd name="T181" fmla="*/ 0 h 1210"/>
                  <a:gd name="T182" fmla="*/ 952 w 952"/>
                  <a:gd name="T183" fmla="*/ 1210 h 121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52" h="1210">
                    <a:moveTo>
                      <a:pt x="702" y="1210"/>
                    </a:moveTo>
                    <a:lnTo>
                      <a:pt x="694" y="1206"/>
                    </a:lnTo>
                    <a:lnTo>
                      <a:pt x="686" y="1202"/>
                    </a:lnTo>
                    <a:lnTo>
                      <a:pt x="678" y="1198"/>
                    </a:lnTo>
                    <a:lnTo>
                      <a:pt x="649" y="1186"/>
                    </a:lnTo>
                    <a:lnTo>
                      <a:pt x="617" y="1186"/>
                    </a:lnTo>
                    <a:lnTo>
                      <a:pt x="585" y="1182"/>
                    </a:lnTo>
                    <a:lnTo>
                      <a:pt x="536" y="1161"/>
                    </a:lnTo>
                    <a:lnTo>
                      <a:pt x="464" y="1145"/>
                    </a:lnTo>
                    <a:lnTo>
                      <a:pt x="464" y="1141"/>
                    </a:lnTo>
                    <a:lnTo>
                      <a:pt x="460" y="1141"/>
                    </a:lnTo>
                    <a:lnTo>
                      <a:pt x="403" y="1141"/>
                    </a:lnTo>
                    <a:lnTo>
                      <a:pt x="323" y="1145"/>
                    </a:lnTo>
                    <a:lnTo>
                      <a:pt x="319" y="1145"/>
                    </a:lnTo>
                    <a:lnTo>
                      <a:pt x="302" y="1145"/>
                    </a:lnTo>
                    <a:lnTo>
                      <a:pt x="266" y="1182"/>
                    </a:lnTo>
                    <a:lnTo>
                      <a:pt x="246" y="1194"/>
                    </a:lnTo>
                    <a:lnTo>
                      <a:pt x="234" y="1194"/>
                    </a:lnTo>
                    <a:lnTo>
                      <a:pt x="222" y="1194"/>
                    </a:lnTo>
                    <a:lnTo>
                      <a:pt x="210" y="1182"/>
                    </a:lnTo>
                    <a:lnTo>
                      <a:pt x="202" y="1166"/>
                    </a:lnTo>
                    <a:lnTo>
                      <a:pt x="181" y="1153"/>
                    </a:lnTo>
                    <a:lnTo>
                      <a:pt x="157" y="1129"/>
                    </a:lnTo>
                    <a:lnTo>
                      <a:pt x="157" y="1125"/>
                    </a:lnTo>
                    <a:lnTo>
                      <a:pt x="145" y="1117"/>
                    </a:lnTo>
                    <a:lnTo>
                      <a:pt x="137" y="1109"/>
                    </a:lnTo>
                    <a:lnTo>
                      <a:pt x="129" y="1089"/>
                    </a:lnTo>
                    <a:lnTo>
                      <a:pt x="125" y="1053"/>
                    </a:lnTo>
                    <a:lnTo>
                      <a:pt x="113" y="1044"/>
                    </a:lnTo>
                    <a:lnTo>
                      <a:pt x="97" y="1036"/>
                    </a:lnTo>
                    <a:lnTo>
                      <a:pt x="93" y="1040"/>
                    </a:lnTo>
                    <a:lnTo>
                      <a:pt x="80" y="1049"/>
                    </a:lnTo>
                    <a:lnTo>
                      <a:pt x="76" y="1069"/>
                    </a:lnTo>
                    <a:lnTo>
                      <a:pt x="64" y="1093"/>
                    </a:lnTo>
                    <a:lnTo>
                      <a:pt x="60" y="1097"/>
                    </a:lnTo>
                    <a:lnTo>
                      <a:pt x="52" y="1109"/>
                    </a:lnTo>
                    <a:lnTo>
                      <a:pt x="48" y="1109"/>
                    </a:lnTo>
                    <a:lnTo>
                      <a:pt x="40" y="1109"/>
                    </a:lnTo>
                    <a:lnTo>
                      <a:pt x="36" y="1105"/>
                    </a:lnTo>
                    <a:lnTo>
                      <a:pt x="32" y="1097"/>
                    </a:lnTo>
                    <a:lnTo>
                      <a:pt x="28" y="1081"/>
                    </a:lnTo>
                    <a:lnTo>
                      <a:pt x="20" y="1061"/>
                    </a:lnTo>
                    <a:lnTo>
                      <a:pt x="4" y="1049"/>
                    </a:lnTo>
                    <a:lnTo>
                      <a:pt x="0" y="1040"/>
                    </a:lnTo>
                    <a:lnTo>
                      <a:pt x="0" y="1032"/>
                    </a:lnTo>
                    <a:lnTo>
                      <a:pt x="0" y="1020"/>
                    </a:lnTo>
                    <a:lnTo>
                      <a:pt x="4" y="1016"/>
                    </a:lnTo>
                    <a:lnTo>
                      <a:pt x="8" y="1012"/>
                    </a:lnTo>
                    <a:lnTo>
                      <a:pt x="20" y="1004"/>
                    </a:lnTo>
                    <a:lnTo>
                      <a:pt x="28" y="992"/>
                    </a:lnTo>
                    <a:lnTo>
                      <a:pt x="117" y="952"/>
                    </a:lnTo>
                    <a:lnTo>
                      <a:pt x="153" y="936"/>
                    </a:lnTo>
                    <a:lnTo>
                      <a:pt x="157" y="915"/>
                    </a:lnTo>
                    <a:lnTo>
                      <a:pt x="157" y="899"/>
                    </a:lnTo>
                    <a:lnTo>
                      <a:pt x="173" y="899"/>
                    </a:lnTo>
                    <a:lnTo>
                      <a:pt x="181" y="899"/>
                    </a:lnTo>
                    <a:lnTo>
                      <a:pt x="189" y="895"/>
                    </a:lnTo>
                    <a:lnTo>
                      <a:pt x="193" y="883"/>
                    </a:lnTo>
                    <a:lnTo>
                      <a:pt x="206" y="847"/>
                    </a:lnTo>
                    <a:lnTo>
                      <a:pt x="218" y="810"/>
                    </a:lnTo>
                    <a:lnTo>
                      <a:pt x="226" y="802"/>
                    </a:lnTo>
                    <a:lnTo>
                      <a:pt x="234" y="790"/>
                    </a:lnTo>
                    <a:lnTo>
                      <a:pt x="238" y="774"/>
                    </a:lnTo>
                    <a:lnTo>
                      <a:pt x="238" y="762"/>
                    </a:lnTo>
                    <a:lnTo>
                      <a:pt x="282" y="742"/>
                    </a:lnTo>
                    <a:lnTo>
                      <a:pt x="323" y="714"/>
                    </a:lnTo>
                    <a:lnTo>
                      <a:pt x="335" y="710"/>
                    </a:lnTo>
                    <a:lnTo>
                      <a:pt x="343" y="702"/>
                    </a:lnTo>
                    <a:lnTo>
                      <a:pt x="343" y="681"/>
                    </a:lnTo>
                    <a:lnTo>
                      <a:pt x="347" y="657"/>
                    </a:lnTo>
                    <a:lnTo>
                      <a:pt x="347" y="653"/>
                    </a:lnTo>
                    <a:lnTo>
                      <a:pt x="351" y="653"/>
                    </a:lnTo>
                    <a:lnTo>
                      <a:pt x="371" y="645"/>
                    </a:lnTo>
                    <a:lnTo>
                      <a:pt x="395" y="641"/>
                    </a:lnTo>
                    <a:lnTo>
                      <a:pt x="395" y="637"/>
                    </a:lnTo>
                    <a:lnTo>
                      <a:pt x="411" y="633"/>
                    </a:lnTo>
                    <a:lnTo>
                      <a:pt x="431" y="621"/>
                    </a:lnTo>
                    <a:lnTo>
                      <a:pt x="444" y="621"/>
                    </a:lnTo>
                    <a:lnTo>
                      <a:pt x="460" y="621"/>
                    </a:lnTo>
                    <a:lnTo>
                      <a:pt x="476" y="617"/>
                    </a:lnTo>
                    <a:lnTo>
                      <a:pt x="488" y="605"/>
                    </a:lnTo>
                    <a:lnTo>
                      <a:pt x="496" y="597"/>
                    </a:lnTo>
                    <a:lnTo>
                      <a:pt x="500" y="589"/>
                    </a:lnTo>
                    <a:lnTo>
                      <a:pt x="508" y="548"/>
                    </a:lnTo>
                    <a:lnTo>
                      <a:pt x="508" y="508"/>
                    </a:lnTo>
                    <a:lnTo>
                      <a:pt x="508" y="504"/>
                    </a:lnTo>
                    <a:lnTo>
                      <a:pt x="500" y="500"/>
                    </a:lnTo>
                    <a:lnTo>
                      <a:pt x="496" y="496"/>
                    </a:lnTo>
                    <a:lnTo>
                      <a:pt x="488" y="484"/>
                    </a:lnTo>
                    <a:lnTo>
                      <a:pt x="464" y="484"/>
                    </a:lnTo>
                    <a:lnTo>
                      <a:pt x="431" y="484"/>
                    </a:lnTo>
                    <a:lnTo>
                      <a:pt x="431" y="459"/>
                    </a:lnTo>
                    <a:lnTo>
                      <a:pt x="427" y="439"/>
                    </a:lnTo>
                    <a:lnTo>
                      <a:pt x="395" y="435"/>
                    </a:lnTo>
                    <a:lnTo>
                      <a:pt x="375" y="427"/>
                    </a:lnTo>
                    <a:lnTo>
                      <a:pt x="371" y="427"/>
                    </a:lnTo>
                    <a:lnTo>
                      <a:pt x="359" y="427"/>
                    </a:lnTo>
                    <a:lnTo>
                      <a:pt x="351" y="431"/>
                    </a:lnTo>
                    <a:lnTo>
                      <a:pt x="343" y="435"/>
                    </a:lnTo>
                    <a:lnTo>
                      <a:pt x="335" y="447"/>
                    </a:lnTo>
                    <a:lnTo>
                      <a:pt x="323" y="459"/>
                    </a:lnTo>
                    <a:lnTo>
                      <a:pt x="323" y="496"/>
                    </a:lnTo>
                    <a:lnTo>
                      <a:pt x="323" y="508"/>
                    </a:lnTo>
                    <a:lnTo>
                      <a:pt x="302" y="508"/>
                    </a:lnTo>
                    <a:lnTo>
                      <a:pt x="286" y="504"/>
                    </a:lnTo>
                    <a:lnTo>
                      <a:pt x="282" y="500"/>
                    </a:lnTo>
                    <a:lnTo>
                      <a:pt x="278" y="500"/>
                    </a:lnTo>
                    <a:lnTo>
                      <a:pt x="270" y="488"/>
                    </a:lnTo>
                    <a:lnTo>
                      <a:pt x="270" y="484"/>
                    </a:lnTo>
                    <a:lnTo>
                      <a:pt x="254" y="476"/>
                    </a:lnTo>
                    <a:lnTo>
                      <a:pt x="238" y="464"/>
                    </a:lnTo>
                    <a:lnTo>
                      <a:pt x="230" y="447"/>
                    </a:lnTo>
                    <a:lnTo>
                      <a:pt x="226" y="439"/>
                    </a:lnTo>
                    <a:lnTo>
                      <a:pt x="226" y="419"/>
                    </a:lnTo>
                    <a:lnTo>
                      <a:pt x="230" y="399"/>
                    </a:lnTo>
                    <a:lnTo>
                      <a:pt x="246" y="371"/>
                    </a:lnTo>
                    <a:lnTo>
                      <a:pt x="262" y="363"/>
                    </a:lnTo>
                    <a:lnTo>
                      <a:pt x="278" y="359"/>
                    </a:lnTo>
                    <a:lnTo>
                      <a:pt x="314" y="355"/>
                    </a:lnTo>
                    <a:lnTo>
                      <a:pt x="319" y="355"/>
                    </a:lnTo>
                    <a:lnTo>
                      <a:pt x="319" y="351"/>
                    </a:lnTo>
                    <a:lnTo>
                      <a:pt x="323" y="338"/>
                    </a:lnTo>
                    <a:lnTo>
                      <a:pt x="323" y="326"/>
                    </a:lnTo>
                    <a:lnTo>
                      <a:pt x="335" y="318"/>
                    </a:lnTo>
                    <a:lnTo>
                      <a:pt x="343" y="306"/>
                    </a:lnTo>
                    <a:lnTo>
                      <a:pt x="355" y="302"/>
                    </a:lnTo>
                    <a:lnTo>
                      <a:pt x="375" y="298"/>
                    </a:lnTo>
                    <a:lnTo>
                      <a:pt x="379" y="278"/>
                    </a:lnTo>
                    <a:lnTo>
                      <a:pt x="387" y="254"/>
                    </a:lnTo>
                    <a:lnTo>
                      <a:pt x="387" y="238"/>
                    </a:lnTo>
                    <a:lnTo>
                      <a:pt x="387" y="213"/>
                    </a:lnTo>
                    <a:lnTo>
                      <a:pt x="383" y="201"/>
                    </a:lnTo>
                    <a:lnTo>
                      <a:pt x="379" y="189"/>
                    </a:lnTo>
                    <a:lnTo>
                      <a:pt x="371" y="181"/>
                    </a:lnTo>
                    <a:lnTo>
                      <a:pt x="359" y="169"/>
                    </a:lnTo>
                    <a:lnTo>
                      <a:pt x="351" y="165"/>
                    </a:lnTo>
                    <a:lnTo>
                      <a:pt x="347" y="161"/>
                    </a:lnTo>
                    <a:lnTo>
                      <a:pt x="347" y="145"/>
                    </a:lnTo>
                    <a:lnTo>
                      <a:pt x="347" y="125"/>
                    </a:lnTo>
                    <a:lnTo>
                      <a:pt x="347" y="117"/>
                    </a:lnTo>
                    <a:lnTo>
                      <a:pt x="351" y="113"/>
                    </a:lnTo>
                    <a:lnTo>
                      <a:pt x="367" y="108"/>
                    </a:lnTo>
                    <a:lnTo>
                      <a:pt x="399" y="100"/>
                    </a:lnTo>
                    <a:lnTo>
                      <a:pt x="427" y="100"/>
                    </a:lnTo>
                    <a:lnTo>
                      <a:pt x="456" y="100"/>
                    </a:lnTo>
                    <a:lnTo>
                      <a:pt x="460" y="100"/>
                    </a:lnTo>
                    <a:lnTo>
                      <a:pt x="464" y="104"/>
                    </a:lnTo>
                    <a:lnTo>
                      <a:pt x="476" y="104"/>
                    </a:lnTo>
                    <a:lnTo>
                      <a:pt x="488" y="104"/>
                    </a:lnTo>
                    <a:lnTo>
                      <a:pt x="508" y="100"/>
                    </a:lnTo>
                    <a:lnTo>
                      <a:pt x="520" y="96"/>
                    </a:lnTo>
                    <a:lnTo>
                      <a:pt x="536" y="88"/>
                    </a:lnTo>
                    <a:lnTo>
                      <a:pt x="548" y="72"/>
                    </a:lnTo>
                    <a:lnTo>
                      <a:pt x="561" y="64"/>
                    </a:lnTo>
                    <a:lnTo>
                      <a:pt x="581" y="60"/>
                    </a:lnTo>
                    <a:lnTo>
                      <a:pt x="581" y="36"/>
                    </a:lnTo>
                    <a:lnTo>
                      <a:pt x="589" y="16"/>
                    </a:lnTo>
                    <a:lnTo>
                      <a:pt x="589" y="12"/>
                    </a:lnTo>
                    <a:lnTo>
                      <a:pt x="593" y="8"/>
                    </a:lnTo>
                    <a:lnTo>
                      <a:pt x="605" y="8"/>
                    </a:lnTo>
                    <a:lnTo>
                      <a:pt x="609" y="0"/>
                    </a:lnTo>
                    <a:lnTo>
                      <a:pt x="637" y="8"/>
                    </a:lnTo>
                    <a:lnTo>
                      <a:pt x="665" y="8"/>
                    </a:lnTo>
                    <a:lnTo>
                      <a:pt x="686" y="12"/>
                    </a:lnTo>
                    <a:lnTo>
                      <a:pt x="702" y="16"/>
                    </a:lnTo>
                    <a:lnTo>
                      <a:pt x="722" y="24"/>
                    </a:lnTo>
                    <a:lnTo>
                      <a:pt x="742" y="36"/>
                    </a:lnTo>
                    <a:lnTo>
                      <a:pt x="754" y="44"/>
                    </a:lnTo>
                    <a:lnTo>
                      <a:pt x="766" y="44"/>
                    </a:lnTo>
                    <a:lnTo>
                      <a:pt x="782" y="48"/>
                    </a:lnTo>
                    <a:lnTo>
                      <a:pt x="803" y="60"/>
                    </a:lnTo>
                    <a:lnTo>
                      <a:pt x="823" y="60"/>
                    </a:lnTo>
                    <a:lnTo>
                      <a:pt x="839" y="60"/>
                    </a:lnTo>
                    <a:lnTo>
                      <a:pt x="871" y="68"/>
                    </a:lnTo>
                    <a:lnTo>
                      <a:pt x="895" y="72"/>
                    </a:lnTo>
                    <a:lnTo>
                      <a:pt x="899" y="76"/>
                    </a:lnTo>
                    <a:lnTo>
                      <a:pt x="903" y="100"/>
                    </a:lnTo>
                    <a:lnTo>
                      <a:pt x="903" y="137"/>
                    </a:lnTo>
                    <a:lnTo>
                      <a:pt x="899" y="141"/>
                    </a:lnTo>
                    <a:lnTo>
                      <a:pt x="895" y="157"/>
                    </a:lnTo>
                    <a:lnTo>
                      <a:pt x="895" y="165"/>
                    </a:lnTo>
                    <a:lnTo>
                      <a:pt x="895" y="181"/>
                    </a:lnTo>
                    <a:lnTo>
                      <a:pt x="924" y="193"/>
                    </a:lnTo>
                    <a:lnTo>
                      <a:pt x="948" y="213"/>
                    </a:lnTo>
                    <a:lnTo>
                      <a:pt x="948" y="217"/>
                    </a:lnTo>
                    <a:lnTo>
                      <a:pt x="952" y="217"/>
                    </a:lnTo>
                    <a:lnTo>
                      <a:pt x="936" y="230"/>
                    </a:lnTo>
                    <a:lnTo>
                      <a:pt x="928" y="242"/>
                    </a:lnTo>
                    <a:lnTo>
                      <a:pt x="907" y="242"/>
                    </a:lnTo>
                    <a:lnTo>
                      <a:pt x="891" y="250"/>
                    </a:lnTo>
                    <a:lnTo>
                      <a:pt x="859" y="278"/>
                    </a:lnTo>
                    <a:lnTo>
                      <a:pt x="831" y="314"/>
                    </a:lnTo>
                    <a:lnTo>
                      <a:pt x="827" y="326"/>
                    </a:lnTo>
                    <a:lnTo>
                      <a:pt x="823" y="342"/>
                    </a:lnTo>
                    <a:lnTo>
                      <a:pt x="819" y="347"/>
                    </a:lnTo>
                    <a:lnTo>
                      <a:pt x="811" y="355"/>
                    </a:lnTo>
                    <a:lnTo>
                      <a:pt x="803" y="403"/>
                    </a:lnTo>
                    <a:lnTo>
                      <a:pt x="795" y="455"/>
                    </a:lnTo>
                    <a:lnTo>
                      <a:pt x="795" y="488"/>
                    </a:lnTo>
                    <a:lnTo>
                      <a:pt x="795" y="524"/>
                    </a:lnTo>
                    <a:lnTo>
                      <a:pt x="795" y="536"/>
                    </a:lnTo>
                    <a:lnTo>
                      <a:pt x="803" y="544"/>
                    </a:lnTo>
                    <a:lnTo>
                      <a:pt x="811" y="548"/>
                    </a:lnTo>
                    <a:lnTo>
                      <a:pt x="819" y="556"/>
                    </a:lnTo>
                    <a:lnTo>
                      <a:pt x="823" y="576"/>
                    </a:lnTo>
                    <a:lnTo>
                      <a:pt x="827" y="601"/>
                    </a:lnTo>
                    <a:lnTo>
                      <a:pt x="835" y="609"/>
                    </a:lnTo>
                    <a:lnTo>
                      <a:pt x="843" y="617"/>
                    </a:lnTo>
                    <a:lnTo>
                      <a:pt x="843" y="633"/>
                    </a:lnTo>
                    <a:lnTo>
                      <a:pt x="847" y="645"/>
                    </a:lnTo>
                    <a:lnTo>
                      <a:pt x="855" y="645"/>
                    </a:lnTo>
                    <a:lnTo>
                      <a:pt x="859" y="653"/>
                    </a:lnTo>
                    <a:lnTo>
                      <a:pt x="859" y="665"/>
                    </a:lnTo>
                    <a:lnTo>
                      <a:pt x="847" y="669"/>
                    </a:lnTo>
                    <a:lnTo>
                      <a:pt x="843" y="677"/>
                    </a:lnTo>
                    <a:lnTo>
                      <a:pt x="843" y="710"/>
                    </a:lnTo>
                    <a:lnTo>
                      <a:pt x="847" y="726"/>
                    </a:lnTo>
                    <a:lnTo>
                      <a:pt x="843" y="742"/>
                    </a:lnTo>
                    <a:lnTo>
                      <a:pt x="839" y="750"/>
                    </a:lnTo>
                    <a:lnTo>
                      <a:pt x="827" y="766"/>
                    </a:lnTo>
                    <a:lnTo>
                      <a:pt x="807" y="786"/>
                    </a:lnTo>
                    <a:lnTo>
                      <a:pt x="795" y="810"/>
                    </a:lnTo>
                    <a:lnTo>
                      <a:pt x="782" y="843"/>
                    </a:lnTo>
                    <a:lnTo>
                      <a:pt x="774" y="847"/>
                    </a:lnTo>
                    <a:lnTo>
                      <a:pt x="770" y="851"/>
                    </a:lnTo>
                    <a:lnTo>
                      <a:pt x="750" y="887"/>
                    </a:lnTo>
                    <a:lnTo>
                      <a:pt x="734" y="911"/>
                    </a:lnTo>
                    <a:lnTo>
                      <a:pt x="730" y="919"/>
                    </a:lnTo>
                    <a:lnTo>
                      <a:pt x="730" y="927"/>
                    </a:lnTo>
                    <a:lnTo>
                      <a:pt x="726" y="936"/>
                    </a:lnTo>
                    <a:lnTo>
                      <a:pt x="722" y="948"/>
                    </a:lnTo>
                    <a:lnTo>
                      <a:pt x="714" y="964"/>
                    </a:lnTo>
                    <a:lnTo>
                      <a:pt x="714" y="1004"/>
                    </a:lnTo>
                    <a:lnTo>
                      <a:pt x="714" y="1044"/>
                    </a:lnTo>
                    <a:lnTo>
                      <a:pt x="722" y="1061"/>
                    </a:lnTo>
                    <a:lnTo>
                      <a:pt x="734" y="1077"/>
                    </a:lnTo>
                    <a:lnTo>
                      <a:pt x="734" y="1141"/>
                    </a:lnTo>
                    <a:lnTo>
                      <a:pt x="734" y="1202"/>
                    </a:lnTo>
                    <a:lnTo>
                      <a:pt x="730" y="1206"/>
                    </a:lnTo>
                    <a:lnTo>
                      <a:pt x="722" y="1210"/>
                    </a:lnTo>
                    <a:lnTo>
                      <a:pt x="714" y="1210"/>
                    </a:lnTo>
                    <a:lnTo>
                      <a:pt x="702" y="121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22" name="Freeform 30"/>
              <p:cNvSpPr>
                <a:spLocks/>
              </p:cNvSpPr>
              <p:nvPr/>
            </p:nvSpPr>
            <p:spPr bwMode="auto">
              <a:xfrm>
                <a:off x="4340312" y="4434604"/>
                <a:ext cx="862012" cy="830152"/>
              </a:xfrm>
              <a:custGeom>
                <a:avLst/>
                <a:gdLst>
                  <a:gd name="T0" fmla="*/ 201954795 w 961"/>
                  <a:gd name="T1" fmla="*/ 677662447 h 932"/>
                  <a:gd name="T2" fmla="*/ 178621276 w 961"/>
                  <a:gd name="T3" fmla="*/ 641155353 h 932"/>
                  <a:gd name="T4" fmla="*/ 152873943 w 961"/>
                  <a:gd name="T5" fmla="*/ 600845019 h 932"/>
                  <a:gd name="T6" fmla="*/ 107816084 w 961"/>
                  <a:gd name="T7" fmla="*/ 521747041 h 932"/>
                  <a:gd name="T8" fmla="*/ 111034501 w 961"/>
                  <a:gd name="T9" fmla="*/ 496647923 h 932"/>
                  <a:gd name="T10" fmla="*/ 136781861 w 961"/>
                  <a:gd name="T11" fmla="*/ 469268256 h 932"/>
                  <a:gd name="T12" fmla="*/ 143218694 w 961"/>
                  <a:gd name="T13" fmla="*/ 429718287 h 932"/>
                  <a:gd name="T14" fmla="*/ 127126611 w 961"/>
                  <a:gd name="T15" fmla="*/ 407661935 h 932"/>
                  <a:gd name="T16" fmla="*/ 146437110 w 961"/>
                  <a:gd name="T17" fmla="*/ 383324163 h 932"/>
                  <a:gd name="T18" fmla="*/ 178621276 w 961"/>
                  <a:gd name="T19" fmla="*/ 395493485 h 932"/>
                  <a:gd name="T20" fmla="*/ 194713358 w 961"/>
                  <a:gd name="T21" fmla="*/ 416789363 h 932"/>
                  <a:gd name="T22" fmla="*/ 221265294 w 961"/>
                  <a:gd name="T23" fmla="*/ 380281397 h 932"/>
                  <a:gd name="T24" fmla="*/ 191494942 w 961"/>
                  <a:gd name="T25" fmla="*/ 324760718 h 932"/>
                  <a:gd name="T26" fmla="*/ 136781861 w 961"/>
                  <a:gd name="T27" fmla="*/ 303464840 h 932"/>
                  <a:gd name="T28" fmla="*/ 81264148 w 961"/>
                  <a:gd name="T29" fmla="*/ 279127068 h 932"/>
                  <a:gd name="T30" fmla="*/ 61954546 w 961"/>
                  <a:gd name="T31" fmla="*/ 220563568 h 932"/>
                  <a:gd name="T32" fmla="*/ 3218417 w 961"/>
                  <a:gd name="T33" fmla="*/ 214478906 h 932"/>
                  <a:gd name="T34" fmla="*/ 10459857 w 961"/>
                  <a:gd name="T35" fmla="*/ 196225795 h 932"/>
                  <a:gd name="T36" fmla="*/ 36207200 w 961"/>
                  <a:gd name="T37" fmla="*/ 146788905 h 932"/>
                  <a:gd name="T38" fmla="*/ 20115110 w 961"/>
                  <a:gd name="T39" fmla="*/ 98112462 h 932"/>
                  <a:gd name="T40" fmla="*/ 20115110 w 961"/>
                  <a:gd name="T41" fmla="*/ 63887660 h 932"/>
                  <a:gd name="T42" fmla="*/ 52299282 w 961"/>
                  <a:gd name="T43" fmla="*/ 42591769 h 932"/>
                  <a:gd name="T44" fmla="*/ 68391379 w 961"/>
                  <a:gd name="T45" fmla="*/ 27380546 h 932"/>
                  <a:gd name="T46" fmla="*/ 140000277 w 961"/>
                  <a:gd name="T47" fmla="*/ 24337779 h 932"/>
                  <a:gd name="T48" fmla="*/ 214828461 w 961"/>
                  <a:gd name="T49" fmla="*/ 0 h 932"/>
                  <a:gd name="T50" fmla="*/ 230920544 w 961"/>
                  <a:gd name="T51" fmla="*/ 18253118 h 932"/>
                  <a:gd name="T52" fmla="*/ 237357433 w 961"/>
                  <a:gd name="T53" fmla="*/ 42591769 h 932"/>
                  <a:gd name="T54" fmla="*/ 272759118 w 961"/>
                  <a:gd name="T55" fmla="*/ 45633663 h 932"/>
                  <a:gd name="T56" fmla="*/ 347587302 w 961"/>
                  <a:gd name="T57" fmla="*/ 33465213 h 932"/>
                  <a:gd name="T58" fmla="*/ 386208300 w 961"/>
                  <a:gd name="T59" fmla="*/ 39549002 h 932"/>
                  <a:gd name="T60" fmla="*/ 415977756 w 961"/>
                  <a:gd name="T61" fmla="*/ 54760219 h 932"/>
                  <a:gd name="T62" fmla="*/ 451380337 w 961"/>
                  <a:gd name="T63" fmla="*/ 63887660 h 932"/>
                  <a:gd name="T64" fmla="*/ 483564615 w 961"/>
                  <a:gd name="T65" fmla="*/ 104197123 h 932"/>
                  <a:gd name="T66" fmla="*/ 497242885 w 961"/>
                  <a:gd name="T67" fmla="*/ 125493028 h 932"/>
                  <a:gd name="T68" fmla="*/ 522990217 w 961"/>
                  <a:gd name="T69" fmla="*/ 155915461 h 932"/>
                  <a:gd name="T70" fmla="*/ 564828735 w 961"/>
                  <a:gd name="T71" fmla="*/ 187098368 h 932"/>
                  <a:gd name="T72" fmla="*/ 613909586 w 961"/>
                  <a:gd name="T73" fmla="*/ 229690178 h 932"/>
                  <a:gd name="T74" fmla="*/ 665404251 w 961"/>
                  <a:gd name="T75" fmla="*/ 273042407 h 932"/>
                  <a:gd name="T76" fmla="*/ 746668371 w 961"/>
                  <a:gd name="T77" fmla="*/ 306507606 h 932"/>
                  <a:gd name="T78" fmla="*/ 773220307 w 961"/>
                  <a:gd name="T79" fmla="*/ 321718823 h 932"/>
                  <a:gd name="T80" fmla="*/ 759542037 w 961"/>
                  <a:gd name="T81" fmla="*/ 377239502 h 932"/>
                  <a:gd name="T82" fmla="*/ 743449954 w 961"/>
                  <a:gd name="T83" fmla="*/ 386366058 h 932"/>
                  <a:gd name="T84" fmla="*/ 708047372 w 961"/>
                  <a:gd name="T85" fmla="*/ 395493485 h 932"/>
                  <a:gd name="T86" fmla="*/ 682300937 w 961"/>
                  <a:gd name="T87" fmla="*/ 432761053 h 932"/>
                  <a:gd name="T88" fmla="*/ 652530585 w 961"/>
                  <a:gd name="T89" fmla="*/ 422873152 h 932"/>
                  <a:gd name="T90" fmla="*/ 626783252 w 961"/>
                  <a:gd name="T91" fmla="*/ 447972270 h 932"/>
                  <a:gd name="T92" fmla="*/ 655749001 w 961"/>
                  <a:gd name="T93" fmla="*/ 508817245 h 932"/>
                  <a:gd name="T94" fmla="*/ 685519354 w 961"/>
                  <a:gd name="T95" fmla="*/ 521747041 h 932"/>
                  <a:gd name="T96" fmla="*/ 701610539 w 961"/>
                  <a:gd name="T97" fmla="*/ 570422585 h 932"/>
                  <a:gd name="T98" fmla="*/ 682300937 w 961"/>
                  <a:gd name="T99" fmla="*/ 604648259 h 932"/>
                  <a:gd name="T100" fmla="*/ 630001669 w 961"/>
                  <a:gd name="T101" fmla="*/ 619859475 h 932"/>
                  <a:gd name="T102" fmla="*/ 610691170 w 961"/>
                  <a:gd name="T103" fmla="*/ 656366570 h 932"/>
                  <a:gd name="T104" fmla="*/ 597817504 w 961"/>
                  <a:gd name="T105" fmla="*/ 674619681 h 932"/>
                  <a:gd name="T106" fmla="*/ 564828735 w 961"/>
                  <a:gd name="T107" fmla="*/ 677662447 h 932"/>
                  <a:gd name="T108" fmla="*/ 513334967 w 961"/>
                  <a:gd name="T109" fmla="*/ 668535892 h 932"/>
                  <a:gd name="T110" fmla="*/ 444943504 w 961"/>
                  <a:gd name="T111" fmla="*/ 668535892 h 932"/>
                  <a:gd name="T112" fmla="*/ 428851422 w 961"/>
                  <a:gd name="T113" fmla="*/ 689830897 h 932"/>
                  <a:gd name="T114" fmla="*/ 373334634 w 961"/>
                  <a:gd name="T115" fmla="*/ 668535892 h 932"/>
                  <a:gd name="T116" fmla="*/ 350805718 w 961"/>
                  <a:gd name="T117" fmla="*/ 659408464 h 932"/>
                  <a:gd name="T118" fmla="*/ 315403137 w 961"/>
                  <a:gd name="T119" fmla="*/ 680704342 h 932"/>
                  <a:gd name="T120" fmla="*/ 285632784 w 961"/>
                  <a:gd name="T121" fmla="*/ 644197248 h 932"/>
                  <a:gd name="T122" fmla="*/ 243793369 w 961"/>
                  <a:gd name="T123" fmla="*/ 659408464 h 93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961"/>
                  <a:gd name="T187" fmla="*/ 0 h 932"/>
                  <a:gd name="T188" fmla="*/ 961 w 961"/>
                  <a:gd name="T189" fmla="*/ 932 h 93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961" h="932">
                    <a:moveTo>
                      <a:pt x="295" y="932"/>
                    </a:moveTo>
                    <a:lnTo>
                      <a:pt x="279" y="924"/>
                    </a:lnTo>
                    <a:lnTo>
                      <a:pt x="267" y="912"/>
                    </a:lnTo>
                    <a:lnTo>
                      <a:pt x="251" y="891"/>
                    </a:lnTo>
                    <a:lnTo>
                      <a:pt x="242" y="883"/>
                    </a:lnTo>
                    <a:lnTo>
                      <a:pt x="238" y="863"/>
                    </a:lnTo>
                    <a:lnTo>
                      <a:pt x="238" y="847"/>
                    </a:lnTo>
                    <a:lnTo>
                      <a:pt x="222" y="843"/>
                    </a:lnTo>
                    <a:lnTo>
                      <a:pt x="210" y="843"/>
                    </a:lnTo>
                    <a:lnTo>
                      <a:pt x="206" y="835"/>
                    </a:lnTo>
                    <a:lnTo>
                      <a:pt x="198" y="823"/>
                    </a:lnTo>
                    <a:lnTo>
                      <a:pt x="190" y="790"/>
                    </a:lnTo>
                    <a:lnTo>
                      <a:pt x="182" y="726"/>
                    </a:lnTo>
                    <a:lnTo>
                      <a:pt x="162" y="702"/>
                    </a:lnTo>
                    <a:lnTo>
                      <a:pt x="142" y="686"/>
                    </a:lnTo>
                    <a:lnTo>
                      <a:pt x="134" y="686"/>
                    </a:lnTo>
                    <a:lnTo>
                      <a:pt x="125" y="682"/>
                    </a:lnTo>
                    <a:lnTo>
                      <a:pt x="125" y="678"/>
                    </a:lnTo>
                    <a:lnTo>
                      <a:pt x="125" y="665"/>
                    </a:lnTo>
                    <a:lnTo>
                      <a:pt x="138" y="653"/>
                    </a:lnTo>
                    <a:lnTo>
                      <a:pt x="154" y="645"/>
                    </a:lnTo>
                    <a:lnTo>
                      <a:pt x="158" y="637"/>
                    </a:lnTo>
                    <a:lnTo>
                      <a:pt x="158" y="629"/>
                    </a:lnTo>
                    <a:lnTo>
                      <a:pt x="170" y="617"/>
                    </a:lnTo>
                    <a:lnTo>
                      <a:pt x="178" y="613"/>
                    </a:lnTo>
                    <a:lnTo>
                      <a:pt x="182" y="593"/>
                    </a:lnTo>
                    <a:lnTo>
                      <a:pt x="182" y="573"/>
                    </a:lnTo>
                    <a:lnTo>
                      <a:pt x="178" y="565"/>
                    </a:lnTo>
                    <a:lnTo>
                      <a:pt x="178" y="556"/>
                    </a:lnTo>
                    <a:lnTo>
                      <a:pt x="170" y="552"/>
                    </a:lnTo>
                    <a:lnTo>
                      <a:pt x="158" y="544"/>
                    </a:lnTo>
                    <a:lnTo>
                      <a:pt x="158" y="536"/>
                    </a:lnTo>
                    <a:lnTo>
                      <a:pt x="158" y="524"/>
                    </a:lnTo>
                    <a:lnTo>
                      <a:pt x="162" y="516"/>
                    </a:lnTo>
                    <a:lnTo>
                      <a:pt x="174" y="508"/>
                    </a:lnTo>
                    <a:lnTo>
                      <a:pt x="182" y="504"/>
                    </a:lnTo>
                    <a:lnTo>
                      <a:pt x="190" y="500"/>
                    </a:lnTo>
                    <a:lnTo>
                      <a:pt x="198" y="500"/>
                    </a:lnTo>
                    <a:lnTo>
                      <a:pt x="214" y="500"/>
                    </a:lnTo>
                    <a:lnTo>
                      <a:pt x="222" y="520"/>
                    </a:lnTo>
                    <a:lnTo>
                      <a:pt x="222" y="540"/>
                    </a:lnTo>
                    <a:lnTo>
                      <a:pt x="226" y="544"/>
                    </a:lnTo>
                    <a:lnTo>
                      <a:pt x="234" y="548"/>
                    </a:lnTo>
                    <a:lnTo>
                      <a:pt x="242" y="548"/>
                    </a:lnTo>
                    <a:lnTo>
                      <a:pt x="259" y="548"/>
                    </a:lnTo>
                    <a:lnTo>
                      <a:pt x="267" y="536"/>
                    </a:lnTo>
                    <a:lnTo>
                      <a:pt x="275" y="524"/>
                    </a:lnTo>
                    <a:lnTo>
                      <a:pt x="275" y="500"/>
                    </a:lnTo>
                    <a:lnTo>
                      <a:pt x="275" y="472"/>
                    </a:lnTo>
                    <a:lnTo>
                      <a:pt x="267" y="460"/>
                    </a:lnTo>
                    <a:lnTo>
                      <a:pt x="259" y="448"/>
                    </a:lnTo>
                    <a:lnTo>
                      <a:pt x="238" y="427"/>
                    </a:lnTo>
                    <a:lnTo>
                      <a:pt x="222" y="411"/>
                    </a:lnTo>
                    <a:lnTo>
                      <a:pt x="214" y="411"/>
                    </a:lnTo>
                    <a:lnTo>
                      <a:pt x="210" y="403"/>
                    </a:lnTo>
                    <a:lnTo>
                      <a:pt x="170" y="399"/>
                    </a:lnTo>
                    <a:lnTo>
                      <a:pt x="125" y="395"/>
                    </a:lnTo>
                    <a:lnTo>
                      <a:pt x="117" y="387"/>
                    </a:lnTo>
                    <a:lnTo>
                      <a:pt x="105" y="375"/>
                    </a:lnTo>
                    <a:lnTo>
                      <a:pt x="101" y="367"/>
                    </a:lnTo>
                    <a:lnTo>
                      <a:pt x="101" y="359"/>
                    </a:lnTo>
                    <a:lnTo>
                      <a:pt x="97" y="331"/>
                    </a:lnTo>
                    <a:lnTo>
                      <a:pt x="97" y="294"/>
                    </a:lnTo>
                    <a:lnTo>
                      <a:pt x="77" y="290"/>
                    </a:lnTo>
                    <a:lnTo>
                      <a:pt x="65" y="286"/>
                    </a:lnTo>
                    <a:lnTo>
                      <a:pt x="41" y="286"/>
                    </a:lnTo>
                    <a:lnTo>
                      <a:pt x="13" y="286"/>
                    </a:lnTo>
                    <a:lnTo>
                      <a:pt x="4" y="282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0" y="266"/>
                    </a:lnTo>
                    <a:lnTo>
                      <a:pt x="13" y="258"/>
                    </a:lnTo>
                    <a:lnTo>
                      <a:pt x="29" y="254"/>
                    </a:lnTo>
                    <a:lnTo>
                      <a:pt x="33" y="230"/>
                    </a:lnTo>
                    <a:lnTo>
                      <a:pt x="41" y="193"/>
                    </a:lnTo>
                    <a:lnTo>
                      <a:pt x="45" y="193"/>
                    </a:lnTo>
                    <a:lnTo>
                      <a:pt x="45" y="169"/>
                    </a:lnTo>
                    <a:lnTo>
                      <a:pt x="45" y="141"/>
                    </a:lnTo>
                    <a:lnTo>
                      <a:pt x="33" y="137"/>
                    </a:lnTo>
                    <a:lnTo>
                      <a:pt x="25" y="129"/>
                    </a:lnTo>
                    <a:lnTo>
                      <a:pt x="21" y="105"/>
                    </a:lnTo>
                    <a:lnTo>
                      <a:pt x="17" y="93"/>
                    </a:lnTo>
                    <a:lnTo>
                      <a:pt x="21" y="88"/>
                    </a:lnTo>
                    <a:lnTo>
                      <a:pt x="25" y="84"/>
                    </a:lnTo>
                    <a:lnTo>
                      <a:pt x="41" y="80"/>
                    </a:lnTo>
                    <a:lnTo>
                      <a:pt x="53" y="68"/>
                    </a:lnTo>
                    <a:lnTo>
                      <a:pt x="61" y="64"/>
                    </a:lnTo>
                    <a:lnTo>
                      <a:pt x="65" y="56"/>
                    </a:lnTo>
                    <a:lnTo>
                      <a:pt x="69" y="52"/>
                    </a:lnTo>
                    <a:lnTo>
                      <a:pt x="73" y="48"/>
                    </a:lnTo>
                    <a:lnTo>
                      <a:pt x="81" y="44"/>
                    </a:lnTo>
                    <a:lnTo>
                      <a:pt x="85" y="36"/>
                    </a:lnTo>
                    <a:lnTo>
                      <a:pt x="125" y="36"/>
                    </a:lnTo>
                    <a:lnTo>
                      <a:pt x="142" y="32"/>
                    </a:lnTo>
                    <a:lnTo>
                      <a:pt x="158" y="32"/>
                    </a:lnTo>
                    <a:lnTo>
                      <a:pt x="174" y="32"/>
                    </a:lnTo>
                    <a:lnTo>
                      <a:pt x="182" y="16"/>
                    </a:lnTo>
                    <a:lnTo>
                      <a:pt x="190" y="4"/>
                    </a:lnTo>
                    <a:lnTo>
                      <a:pt x="214" y="4"/>
                    </a:lnTo>
                    <a:lnTo>
                      <a:pt x="267" y="0"/>
                    </a:lnTo>
                    <a:lnTo>
                      <a:pt x="267" y="8"/>
                    </a:lnTo>
                    <a:lnTo>
                      <a:pt x="267" y="12"/>
                    </a:lnTo>
                    <a:lnTo>
                      <a:pt x="275" y="16"/>
                    </a:lnTo>
                    <a:lnTo>
                      <a:pt x="287" y="24"/>
                    </a:lnTo>
                    <a:lnTo>
                      <a:pt x="287" y="36"/>
                    </a:lnTo>
                    <a:lnTo>
                      <a:pt x="287" y="48"/>
                    </a:lnTo>
                    <a:lnTo>
                      <a:pt x="291" y="52"/>
                    </a:lnTo>
                    <a:lnTo>
                      <a:pt x="295" y="56"/>
                    </a:lnTo>
                    <a:lnTo>
                      <a:pt x="303" y="60"/>
                    </a:lnTo>
                    <a:lnTo>
                      <a:pt x="311" y="60"/>
                    </a:lnTo>
                    <a:lnTo>
                      <a:pt x="323" y="60"/>
                    </a:lnTo>
                    <a:lnTo>
                      <a:pt x="339" y="60"/>
                    </a:lnTo>
                    <a:lnTo>
                      <a:pt x="347" y="56"/>
                    </a:lnTo>
                    <a:lnTo>
                      <a:pt x="384" y="52"/>
                    </a:lnTo>
                    <a:lnTo>
                      <a:pt x="420" y="48"/>
                    </a:lnTo>
                    <a:lnTo>
                      <a:pt x="432" y="44"/>
                    </a:lnTo>
                    <a:lnTo>
                      <a:pt x="440" y="44"/>
                    </a:lnTo>
                    <a:lnTo>
                      <a:pt x="456" y="44"/>
                    </a:lnTo>
                    <a:lnTo>
                      <a:pt x="464" y="48"/>
                    </a:lnTo>
                    <a:lnTo>
                      <a:pt x="480" y="52"/>
                    </a:lnTo>
                    <a:lnTo>
                      <a:pt x="485" y="56"/>
                    </a:lnTo>
                    <a:lnTo>
                      <a:pt x="493" y="64"/>
                    </a:lnTo>
                    <a:lnTo>
                      <a:pt x="501" y="68"/>
                    </a:lnTo>
                    <a:lnTo>
                      <a:pt x="517" y="72"/>
                    </a:lnTo>
                    <a:lnTo>
                      <a:pt x="533" y="72"/>
                    </a:lnTo>
                    <a:lnTo>
                      <a:pt x="545" y="72"/>
                    </a:lnTo>
                    <a:lnTo>
                      <a:pt x="549" y="80"/>
                    </a:lnTo>
                    <a:lnTo>
                      <a:pt x="561" y="84"/>
                    </a:lnTo>
                    <a:lnTo>
                      <a:pt x="577" y="101"/>
                    </a:lnTo>
                    <a:lnTo>
                      <a:pt x="593" y="117"/>
                    </a:lnTo>
                    <a:lnTo>
                      <a:pt x="597" y="129"/>
                    </a:lnTo>
                    <a:lnTo>
                      <a:pt x="601" y="137"/>
                    </a:lnTo>
                    <a:lnTo>
                      <a:pt x="610" y="141"/>
                    </a:lnTo>
                    <a:lnTo>
                      <a:pt x="618" y="149"/>
                    </a:lnTo>
                    <a:lnTo>
                      <a:pt x="618" y="153"/>
                    </a:lnTo>
                    <a:lnTo>
                      <a:pt x="618" y="165"/>
                    </a:lnTo>
                    <a:lnTo>
                      <a:pt x="626" y="169"/>
                    </a:lnTo>
                    <a:lnTo>
                      <a:pt x="634" y="177"/>
                    </a:lnTo>
                    <a:lnTo>
                      <a:pt x="646" y="193"/>
                    </a:lnTo>
                    <a:lnTo>
                      <a:pt x="650" y="205"/>
                    </a:lnTo>
                    <a:lnTo>
                      <a:pt x="662" y="210"/>
                    </a:lnTo>
                    <a:lnTo>
                      <a:pt x="662" y="222"/>
                    </a:lnTo>
                    <a:lnTo>
                      <a:pt x="686" y="234"/>
                    </a:lnTo>
                    <a:lnTo>
                      <a:pt x="702" y="246"/>
                    </a:lnTo>
                    <a:lnTo>
                      <a:pt x="731" y="262"/>
                    </a:lnTo>
                    <a:lnTo>
                      <a:pt x="747" y="282"/>
                    </a:lnTo>
                    <a:lnTo>
                      <a:pt x="751" y="290"/>
                    </a:lnTo>
                    <a:lnTo>
                      <a:pt x="763" y="302"/>
                    </a:lnTo>
                    <a:lnTo>
                      <a:pt x="783" y="314"/>
                    </a:lnTo>
                    <a:lnTo>
                      <a:pt x="807" y="335"/>
                    </a:lnTo>
                    <a:lnTo>
                      <a:pt x="819" y="347"/>
                    </a:lnTo>
                    <a:lnTo>
                      <a:pt x="827" y="359"/>
                    </a:lnTo>
                    <a:lnTo>
                      <a:pt x="831" y="383"/>
                    </a:lnTo>
                    <a:lnTo>
                      <a:pt x="844" y="403"/>
                    </a:lnTo>
                    <a:lnTo>
                      <a:pt x="884" y="403"/>
                    </a:lnTo>
                    <a:lnTo>
                      <a:pt x="928" y="403"/>
                    </a:lnTo>
                    <a:lnTo>
                      <a:pt x="936" y="411"/>
                    </a:lnTo>
                    <a:lnTo>
                      <a:pt x="948" y="411"/>
                    </a:lnTo>
                    <a:lnTo>
                      <a:pt x="956" y="419"/>
                    </a:lnTo>
                    <a:lnTo>
                      <a:pt x="961" y="423"/>
                    </a:lnTo>
                    <a:lnTo>
                      <a:pt x="961" y="439"/>
                    </a:lnTo>
                    <a:lnTo>
                      <a:pt x="961" y="460"/>
                    </a:lnTo>
                    <a:lnTo>
                      <a:pt x="956" y="476"/>
                    </a:lnTo>
                    <a:lnTo>
                      <a:pt x="944" y="496"/>
                    </a:lnTo>
                    <a:lnTo>
                      <a:pt x="940" y="500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24" y="508"/>
                    </a:lnTo>
                    <a:lnTo>
                      <a:pt x="904" y="508"/>
                    </a:lnTo>
                    <a:lnTo>
                      <a:pt x="880" y="508"/>
                    </a:lnTo>
                    <a:lnTo>
                      <a:pt x="880" y="512"/>
                    </a:lnTo>
                    <a:lnTo>
                      <a:pt x="880" y="520"/>
                    </a:lnTo>
                    <a:lnTo>
                      <a:pt x="876" y="524"/>
                    </a:lnTo>
                    <a:lnTo>
                      <a:pt x="868" y="532"/>
                    </a:lnTo>
                    <a:lnTo>
                      <a:pt x="852" y="561"/>
                    </a:lnTo>
                    <a:lnTo>
                      <a:pt x="848" y="569"/>
                    </a:lnTo>
                    <a:lnTo>
                      <a:pt x="840" y="569"/>
                    </a:lnTo>
                    <a:lnTo>
                      <a:pt x="827" y="569"/>
                    </a:lnTo>
                    <a:lnTo>
                      <a:pt x="819" y="565"/>
                    </a:lnTo>
                    <a:lnTo>
                      <a:pt x="811" y="556"/>
                    </a:lnTo>
                    <a:lnTo>
                      <a:pt x="799" y="561"/>
                    </a:lnTo>
                    <a:lnTo>
                      <a:pt x="783" y="561"/>
                    </a:lnTo>
                    <a:lnTo>
                      <a:pt x="783" y="573"/>
                    </a:lnTo>
                    <a:lnTo>
                      <a:pt x="779" y="589"/>
                    </a:lnTo>
                    <a:lnTo>
                      <a:pt x="783" y="613"/>
                    </a:lnTo>
                    <a:lnTo>
                      <a:pt x="791" y="641"/>
                    </a:lnTo>
                    <a:lnTo>
                      <a:pt x="807" y="665"/>
                    </a:lnTo>
                    <a:lnTo>
                      <a:pt x="815" y="669"/>
                    </a:lnTo>
                    <a:lnTo>
                      <a:pt x="827" y="678"/>
                    </a:lnTo>
                    <a:lnTo>
                      <a:pt x="831" y="682"/>
                    </a:lnTo>
                    <a:lnTo>
                      <a:pt x="844" y="682"/>
                    </a:lnTo>
                    <a:lnTo>
                      <a:pt x="852" y="686"/>
                    </a:lnTo>
                    <a:lnTo>
                      <a:pt x="860" y="686"/>
                    </a:lnTo>
                    <a:lnTo>
                      <a:pt x="860" y="690"/>
                    </a:lnTo>
                    <a:lnTo>
                      <a:pt x="868" y="718"/>
                    </a:lnTo>
                    <a:lnTo>
                      <a:pt x="872" y="750"/>
                    </a:lnTo>
                    <a:lnTo>
                      <a:pt x="872" y="758"/>
                    </a:lnTo>
                    <a:lnTo>
                      <a:pt x="872" y="766"/>
                    </a:lnTo>
                    <a:lnTo>
                      <a:pt x="864" y="778"/>
                    </a:lnTo>
                    <a:lnTo>
                      <a:pt x="848" y="795"/>
                    </a:lnTo>
                    <a:lnTo>
                      <a:pt x="827" y="799"/>
                    </a:lnTo>
                    <a:lnTo>
                      <a:pt x="811" y="803"/>
                    </a:lnTo>
                    <a:lnTo>
                      <a:pt x="807" y="807"/>
                    </a:lnTo>
                    <a:lnTo>
                      <a:pt x="783" y="815"/>
                    </a:lnTo>
                    <a:lnTo>
                      <a:pt x="779" y="831"/>
                    </a:lnTo>
                    <a:lnTo>
                      <a:pt x="767" y="843"/>
                    </a:lnTo>
                    <a:lnTo>
                      <a:pt x="763" y="851"/>
                    </a:lnTo>
                    <a:lnTo>
                      <a:pt x="759" y="863"/>
                    </a:lnTo>
                    <a:lnTo>
                      <a:pt x="751" y="867"/>
                    </a:lnTo>
                    <a:lnTo>
                      <a:pt x="747" y="871"/>
                    </a:lnTo>
                    <a:lnTo>
                      <a:pt x="743" y="879"/>
                    </a:lnTo>
                    <a:lnTo>
                      <a:pt x="743" y="887"/>
                    </a:lnTo>
                    <a:lnTo>
                      <a:pt x="739" y="891"/>
                    </a:lnTo>
                    <a:lnTo>
                      <a:pt x="735" y="891"/>
                    </a:lnTo>
                    <a:lnTo>
                      <a:pt x="714" y="891"/>
                    </a:lnTo>
                    <a:lnTo>
                      <a:pt x="702" y="891"/>
                    </a:lnTo>
                    <a:lnTo>
                      <a:pt x="682" y="883"/>
                    </a:lnTo>
                    <a:lnTo>
                      <a:pt x="666" y="871"/>
                    </a:lnTo>
                    <a:lnTo>
                      <a:pt x="662" y="871"/>
                    </a:lnTo>
                    <a:lnTo>
                      <a:pt x="638" y="879"/>
                    </a:lnTo>
                    <a:lnTo>
                      <a:pt x="626" y="883"/>
                    </a:lnTo>
                    <a:lnTo>
                      <a:pt x="610" y="883"/>
                    </a:lnTo>
                    <a:lnTo>
                      <a:pt x="585" y="879"/>
                    </a:lnTo>
                    <a:lnTo>
                      <a:pt x="553" y="879"/>
                    </a:lnTo>
                    <a:lnTo>
                      <a:pt x="549" y="883"/>
                    </a:lnTo>
                    <a:lnTo>
                      <a:pt x="541" y="891"/>
                    </a:lnTo>
                    <a:lnTo>
                      <a:pt x="537" y="899"/>
                    </a:lnTo>
                    <a:lnTo>
                      <a:pt x="533" y="907"/>
                    </a:lnTo>
                    <a:lnTo>
                      <a:pt x="509" y="907"/>
                    </a:lnTo>
                    <a:lnTo>
                      <a:pt x="485" y="907"/>
                    </a:lnTo>
                    <a:lnTo>
                      <a:pt x="472" y="891"/>
                    </a:lnTo>
                    <a:lnTo>
                      <a:pt x="464" y="879"/>
                    </a:lnTo>
                    <a:lnTo>
                      <a:pt x="456" y="871"/>
                    </a:lnTo>
                    <a:lnTo>
                      <a:pt x="444" y="871"/>
                    </a:lnTo>
                    <a:lnTo>
                      <a:pt x="440" y="867"/>
                    </a:lnTo>
                    <a:lnTo>
                      <a:pt x="436" y="867"/>
                    </a:lnTo>
                    <a:lnTo>
                      <a:pt x="432" y="867"/>
                    </a:lnTo>
                    <a:lnTo>
                      <a:pt x="416" y="883"/>
                    </a:lnTo>
                    <a:lnTo>
                      <a:pt x="400" y="895"/>
                    </a:lnTo>
                    <a:lnTo>
                      <a:pt x="392" y="895"/>
                    </a:lnTo>
                    <a:lnTo>
                      <a:pt x="380" y="871"/>
                    </a:lnTo>
                    <a:lnTo>
                      <a:pt x="372" y="855"/>
                    </a:lnTo>
                    <a:lnTo>
                      <a:pt x="363" y="851"/>
                    </a:lnTo>
                    <a:lnTo>
                      <a:pt x="355" y="847"/>
                    </a:lnTo>
                    <a:lnTo>
                      <a:pt x="339" y="847"/>
                    </a:lnTo>
                    <a:lnTo>
                      <a:pt x="323" y="851"/>
                    </a:lnTo>
                    <a:lnTo>
                      <a:pt x="315" y="859"/>
                    </a:lnTo>
                    <a:lnTo>
                      <a:pt x="303" y="867"/>
                    </a:lnTo>
                    <a:lnTo>
                      <a:pt x="299" y="899"/>
                    </a:lnTo>
                    <a:lnTo>
                      <a:pt x="299" y="932"/>
                    </a:lnTo>
                    <a:lnTo>
                      <a:pt x="295" y="93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23" name="Freeform 31"/>
              <p:cNvSpPr>
                <a:spLocks/>
              </p:cNvSpPr>
              <p:nvPr/>
            </p:nvSpPr>
            <p:spPr bwMode="auto">
              <a:xfrm>
                <a:off x="7129550" y="4189774"/>
                <a:ext cx="1181101" cy="1071739"/>
              </a:xfrm>
              <a:custGeom>
                <a:avLst/>
                <a:gdLst>
                  <a:gd name="T0" fmla="*/ 16133917 w 1315"/>
                  <a:gd name="T1" fmla="*/ 865848513 h 1203"/>
                  <a:gd name="T2" fmla="*/ 0 w 1315"/>
                  <a:gd name="T3" fmla="*/ 823240872 h 1203"/>
                  <a:gd name="T4" fmla="*/ 16133917 w 1315"/>
                  <a:gd name="T5" fmla="*/ 746394122 h 1203"/>
                  <a:gd name="T6" fmla="*/ 16133917 w 1315"/>
                  <a:gd name="T7" fmla="*/ 666504903 h 1203"/>
                  <a:gd name="T8" fmla="*/ 32268732 w 1315"/>
                  <a:gd name="T9" fmla="*/ 607919942 h 1203"/>
                  <a:gd name="T10" fmla="*/ 61310322 w 1315"/>
                  <a:gd name="T11" fmla="*/ 589659026 h 1203"/>
                  <a:gd name="T12" fmla="*/ 38722116 w 1315"/>
                  <a:gd name="T13" fmla="*/ 509769807 h 1203"/>
                  <a:gd name="T14" fmla="*/ 25815341 w 1315"/>
                  <a:gd name="T15" fmla="*/ 454228077 h 1203"/>
                  <a:gd name="T16" fmla="*/ 64537464 w 1315"/>
                  <a:gd name="T17" fmla="*/ 423793798 h 1203"/>
                  <a:gd name="T18" fmla="*/ 100839884 w 1315"/>
                  <a:gd name="T19" fmla="*/ 399447073 h 1203"/>
                  <a:gd name="T20" fmla="*/ 100839884 w 1315"/>
                  <a:gd name="T21" fmla="*/ 340861239 h 1203"/>
                  <a:gd name="T22" fmla="*/ 78251691 w 1315"/>
                  <a:gd name="T23" fmla="*/ 322600323 h 1203"/>
                  <a:gd name="T24" fmla="*/ 91159358 w 1315"/>
                  <a:gd name="T25" fmla="*/ 286080236 h 1203"/>
                  <a:gd name="T26" fmla="*/ 78251691 w 1315"/>
                  <a:gd name="T27" fmla="*/ 251841999 h 1203"/>
                  <a:gd name="T28" fmla="*/ 84705076 w 1315"/>
                  <a:gd name="T29" fmla="*/ 224451006 h 1203"/>
                  <a:gd name="T30" fmla="*/ 182318716 w 1315"/>
                  <a:gd name="T31" fmla="*/ 206190963 h 1203"/>
                  <a:gd name="T32" fmla="*/ 182318716 w 1315"/>
                  <a:gd name="T33" fmla="*/ 174996067 h 1203"/>
                  <a:gd name="T34" fmla="*/ 152469681 w 1315"/>
                  <a:gd name="T35" fmla="*/ 89019268 h 1203"/>
                  <a:gd name="T36" fmla="*/ 246856208 w 1315"/>
                  <a:gd name="T37" fmla="*/ 55542507 h 1203"/>
                  <a:gd name="T38" fmla="*/ 243629067 w 1315"/>
                  <a:gd name="T39" fmla="*/ 25108221 h 1203"/>
                  <a:gd name="T40" fmla="*/ 283157729 w 1315"/>
                  <a:gd name="T41" fmla="*/ 0 h 1203"/>
                  <a:gd name="T42" fmla="*/ 334788397 w 1315"/>
                  <a:gd name="T43" fmla="*/ 28151562 h 1203"/>
                  <a:gd name="T44" fmla="*/ 419493444 w 1315"/>
                  <a:gd name="T45" fmla="*/ 61629202 h 1203"/>
                  <a:gd name="T46" fmla="*/ 491291835 w 1315"/>
                  <a:gd name="T47" fmla="*/ 95105949 h 1203"/>
                  <a:gd name="T48" fmla="*/ 579224024 w 1315"/>
                  <a:gd name="T49" fmla="*/ 108040801 h 1203"/>
                  <a:gd name="T50" fmla="*/ 617946126 w 1315"/>
                  <a:gd name="T51" fmla="*/ 132388426 h 1203"/>
                  <a:gd name="T52" fmla="*/ 646987703 w 1315"/>
                  <a:gd name="T53" fmla="*/ 156735151 h 1203"/>
                  <a:gd name="T54" fmla="*/ 686517264 w 1315"/>
                  <a:gd name="T55" fmla="*/ 209234303 h 1203"/>
                  <a:gd name="T56" fmla="*/ 758314644 w 1315"/>
                  <a:gd name="T57" fmla="*/ 239667764 h 1203"/>
                  <a:gd name="T58" fmla="*/ 790583362 w 1315"/>
                  <a:gd name="T59" fmla="*/ 270102043 h 1203"/>
                  <a:gd name="T60" fmla="*/ 868835025 w 1315"/>
                  <a:gd name="T61" fmla="*/ 340861239 h 1203"/>
                  <a:gd name="T62" fmla="*/ 888196975 w 1315"/>
                  <a:gd name="T63" fmla="*/ 375099476 h 1203"/>
                  <a:gd name="T64" fmla="*/ 926919077 w 1315"/>
                  <a:gd name="T65" fmla="*/ 451184737 h 1203"/>
                  <a:gd name="T66" fmla="*/ 969675105 w 1315"/>
                  <a:gd name="T67" fmla="*/ 485423082 h 1203"/>
                  <a:gd name="T68" fmla="*/ 1038246243 w 1315"/>
                  <a:gd name="T69" fmla="*/ 442054715 h 1203"/>
                  <a:gd name="T70" fmla="*/ 1060834435 w 1315"/>
                  <a:gd name="T71" fmla="*/ 451184737 h 1203"/>
                  <a:gd name="T72" fmla="*/ 1031792859 w 1315"/>
                  <a:gd name="T73" fmla="*/ 537160745 h 1203"/>
                  <a:gd name="T74" fmla="*/ 995490439 w 1315"/>
                  <a:gd name="T75" fmla="*/ 586615685 h 1203"/>
                  <a:gd name="T76" fmla="*/ 953541196 w 1315"/>
                  <a:gd name="T77" fmla="*/ 626179986 h 1203"/>
                  <a:gd name="T78" fmla="*/ 926919077 w 1315"/>
                  <a:gd name="T79" fmla="*/ 666504903 h 1203"/>
                  <a:gd name="T80" fmla="*/ 888196975 w 1315"/>
                  <a:gd name="T81" fmla="*/ 666504903 h 1203"/>
                  <a:gd name="T82" fmla="*/ 809944413 w 1315"/>
                  <a:gd name="T83" fmla="*/ 696939182 h 1203"/>
                  <a:gd name="T84" fmla="*/ 702651174 w 1315"/>
                  <a:gd name="T85" fmla="*/ 725090737 h 1203"/>
                  <a:gd name="T86" fmla="*/ 621173267 w 1315"/>
                  <a:gd name="T87" fmla="*/ 764655038 h 1203"/>
                  <a:gd name="T88" fmla="*/ 517106271 w 1315"/>
                  <a:gd name="T89" fmla="*/ 755525016 h 1203"/>
                  <a:gd name="T90" fmla="*/ 478384168 w 1315"/>
                  <a:gd name="T91" fmla="*/ 743350781 h 1203"/>
                  <a:gd name="T92" fmla="*/ 416266303 w 1315"/>
                  <a:gd name="T93" fmla="*/ 755525016 h 1203"/>
                  <a:gd name="T94" fmla="*/ 312200204 w 1315"/>
                  <a:gd name="T95" fmla="*/ 764655038 h 1203"/>
                  <a:gd name="T96" fmla="*/ 270250961 w 1315"/>
                  <a:gd name="T97" fmla="*/ 743350781 h 1203"/>
                  <a:gd name="T98" fmla="*/ 214587434 w 1315"/>
                  <a:gd name="T99" fmla="*/ 782915082 h 1203"/>
                  <a:gd name="T100" fmla="*/ 162150206 w 1315"/>
                  <a:gd name="T101" fmla="*/ 823240872 h 1203"/>
                  <a:gd name="T102" fmla="*/ 139562014 w 1315"/>
                  <a:gd name="T103" fmla="*/ 890195238 h 1203"/>
                  <a:gd name="T104" fmla="*/ 110520409 w 1315"/>
                  <a:gd name="T105" fmla="*/ 915303671 h 120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315"/>
                  <a:gd name="T160" fmla="*/ 0 h 1203"/>
                  <a:gd name="T161" fmla="*/ 1315 w 1315"/>
                  <a:gd name="T162" fmla="*/ 1203 h 120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315" h="1203">
                    <a:moveTo>
                      <a:pt x="60" y="1203"/>
                    </a:moveTo>
                    <a:lnTo>
                      <a:pt x="44" y="1187"/>
                    </a:lnTo>
                    <a:lnTo>
                      <a:pt x="24" y="1174"/>
                    </a:lnTo>
                    <a:lnTo>
                      <a:pt x="24" y="1158"/>
                    </a:lnTo>
                    <a:lnTo>
                      <a:pt x="20" y="1138"/>
                    </a:lnTo>
                    <a:lnTo>
                      <a:pt x="20" y="1130"/>
                    </a:lnTo>
                    <a:lnTo>
                      <a:pt x="16" y="1114"/>
                    </a:lnTo>
                    <a:lnTo>
                      <a:pt x="12" y="1110"/>
                    </a:lnTo>
                    <a:lnTo>
                      <a:pt x="8" y="1094"/>
                    </a:lnTo>
                    <a:lnTo>
                      <a:pt x="0" y="1082"/>
                    </a:lnTo>
                    <a:lnTo>
                      <a:pt x="8" y="1041"/>
                    </a:lnTo>
                    <a:lnTo>
                      <a:pt x="8" y="1001"/>
                    </a:lnTo>
                    <a:lnTo>
                      <a:pt x="12" y="997"/>
                    </a:lnTo>
                    <a:lnTo>
                      <a:pt x="16" y="993"/>
                    </a:lnTo>
                    <a:lnTo>
                      <a:pt x="20" y="981"/>
                    </a:lnTo>
                    <a:lnTo>
                      <a:pt x="20" y="977"/>
                    </a:lnTo>
                    <a:lnTo>
                      <a:pt x="20" y="940"/>
                    </a:lnTo>
                    <a:lnTo>
                      <a:pt x="20" y="912"/>
                    </a:lnTo>
                    <a:lnTo>
                      <a:pt x="20" y="896"/>
                    </a:lnTo>
                    <a:lnTo>
                      <a:pt x="20" y="876"/>
                    </a:lnTo>
                    <a:lnTo>
                      <a:pt x="24" y="860"/>
                    </a:lnTo>
                    <a:lnTo>
                      <a:pt x="28" y="836"/>
                    </a:lnTo>
                    <a:lnTo>
                      <a:pt x="28" y="827"/>
                    </a:lnTo>
                    <a:lnTo>
                      <a:pt x="28" y="811"/>
                    </a:lnTo>
                    <a:lnTo>
                      <a:pt x="40" y="799"/>
                    </a:lnTo>
                    <a:lnTo>
                      <a:pt x="48" y="791"/>
                    </a:lnTo>
                    <a:lnTo>
                      <a:pt x="60" y="791"/>
                    </a:lnTo>
                    <a:lnTo>
                      <a:pt x="68" y="787"/>
                    </a:lnTo>
                    <a:lnTo>
                      <a:pt x="72" y="779"/>
                    </a:lnTo>
                    <a:lnTo>
                      <a:pt x="76" y="775"/>
                    </a:lnTo>
                    <a:lnTo>
                      <a:pt x="88" y="719"/>
                    </a:lnTo>
                    <a:lnTo>
                      <a:pt x="88" y="698"/>
                    </a:lnTo>
                    <a:lnTo>
                      <a:pt x="76" y="686"/>
                    </a:lnTo>
                    <a:lnTo>
                      <a:pt x="52" y="674"/>
                    </a:lnTo>
                    <a:lnTo>
                      <a:pt x="48" y="670"/>
                    </a:lnTo>
                    <a:lnTo>
                      <a:pt x="44" y="666"/>
                    </a:lnTo>
                    <a:lnTo>
                      <a:pt x="40" y="638"/>
                    </a:lnTo>
                    <a:lnTo>
                      <a:pt x="40" y="610"/>
                    </a:lnTo>
                    <a:lnTo>
                      <a:pt x="32" y="610"/>
                    </a:lnTo>
                    <a:lnTo>
                      <a:pt x="32" y="597"/>
                    </a:lnTo>
                    <a:lnTo>
                      <a:pt x="32" y="593"/>
                    </a:lnTo>
                    <a:lnTo>
                      <a:pt x="44" y="585"/>
                    </a:lnTo>
                    <a:lnTo>
                      <a:pt x="60" y="581"/>
                    </a:lnTo>
                    <a:lnTo>
                      <a:pt x="68" y="569"/>
                    </a:lnTo>
                    <a:lnTo>
                      <a:pt x="80" y="557"/>
                    </a:lnTo>
                    <a:lnTo>
                      <a:pt x="97" y="549"/>
                    </a:lnTo>
                    <a:lnTo>
                      <a:pt x="105" y="545"/>
                    </a:lnTo>
                    <a:lnTo>
                      <a:pt x="109" y="541"/>
                    </a:lnTo>
                    <a:lnTo>
                      <a:pt x="113" y="529"/>
                    </a:lnTo>
                    <a:lnTo>
                      <a:pt x="125" y="525"/>
                    </a:lnTo>
                    <a:lnTo>
                      <a:pt x="133" y="517"/>
                    </a:lnTo>
                    <a:lnTo>
                      <a:pt x="133" y="489"/>
                    </a:lnTo>
                    <a:lnTo>
                      <a:pt x="133" y="464"/>
                    </a:lnTo>
                    <a:lnTo>
                      <a:pt x="129" y="456"/>
                    </a:lnTo>
                    <a:lnTo>
                      <a:pt x="125" y="448"/>
                    </a:lnTo>
                    <a:lnTo>
                      <a:pt x="113" y="448"/>
                    </a:lnTo>
                    <a:lnTo>
                      <a:pt x="109" y="444"/>
                    </a:lnTo>
                    <a:lnTo>
                      <a:pt x="109" y="440"/>
                    </a:lnTo>
                    <a:lnTo>
                      <a:pt x="105" y="432"/>
                    </a:lnTo>
                    <a:lnTo>
                      <a:pt x="97" y="424"/>
                    </a:lnTo>
                    <a:lnTo>
                      <a:pt x="80" y="416"/>
                    </a:lnTo>
                    <a:lnTo>
                      <a:pt x="80" y="412"/>
                    </a:lnTo>
                    <a:lnTo>
                      <a:pt x="80" y="404"/>
                    </a:lnTo>
                    <a:lnTo>
                      <a:pt x="101" y="392"/>
                    </a:lnTo>
                    <a:lnTo>
                      <a:pt x="113" y="376"/>
                    </a:lnTo>
                    <a:lnTo>
                      <a:pt x="113" y="363"/>
                    </a:lnTo>
                    <a:lnTo>
                      <a:pt x="113" y="347"/>
                    </a:lnTo>
                    <a:lnTo>
                      <a:pt x="105" y="343"/>
                    </a:lnTo>
                    <a:lnTo>
                      <a:pt x="97" y="343"/>
                    </a:lnTo>
                    <a:lnTo>
                      <a:pt x="97" y="331"/>
                    </a:lnTo>
                    <a:lnTo>
                      <a:pt x="97" y="319"/>
                    </a:lnTo>
                    <a:lnTo>
                      <a:pt x="101" y="315"/>
                    </a:lnTo>
                    <a:lnTo>
                      <a:pt x="105" y="311"/>
                    </a:lnTo>
                    <a:lnTo>
                      <a:pt x="105" y="307"/>
                    </a:lnTo>
                    <a:lnTo>
                      <a:pt x="105" y="295"/>
                    </a:lnTo>
                    <a:lnTo>
                      <a:pt x="113" y="295"/>
                    </a:lnTo>
                    <a:lnTo>
                      <a:pt x="121" y="291"/>
                    </a:lnTo>
                    <a:lnTo>
                      <a:pt x="185" y="279"/>
                    </a:lnTo>
                    <a:lnTo>
                      <a:pt x="218" y="275"/>
                    </a:lnTo>
                    <a:lnTo>
                      <a:pt x="226" y="271"/>
                    </a:lnTo>
                    <a:lnTo>
                      <a:pt x="230" y="263"/>
                    </a:lnTo>
                    <a:lnTo>
                      <a:pt x="230" y="246"/>
                    </a:lnTo>
                    <a:lnTo>
                      <a:pt x="230" y="238"/>
                    </a:lnTo>
                    <a:lnTo>
                      <a:pt x="230" y="234"/>
                    </a:lnTo>
                    <a:lnTo>
                      <a:pt x="226" y="230"/>
                    </a:lnTo>
                    <a:lnTo>
                      <a:pt x="193" y="230"/>
                    </a:lnTo>
                    <a:lnTo>
                      <a:pt x="157" y="226"/>
                    </a:lnTo>
                    <a:lnTo>
                      <a:pt x="161" y="194"/>
                    </a:lnTo>
                    <a:lnTo>
                      <a:pt x="173" y="121"/>
                    </a:lnTo>
                    <a:lnTo>
                      <a:pt x="189" y="117"/>
                    </a:lnTo>
                    <a:lnTo>
                      <a:pt x="218" y="109"/>
                    </a:lnTo>
                    <a:lnTo>
                      <a:pt x="254" y="101"/>
                    </a:lnTo>
                    <a:lnTo>
                      <a:pt x="294" y="89"/>
                    </a:lnTo>
                    <a:lnTo>
                      <a:pt x="302" y="81"/>
                    </a:lnTo>
                    <a:lnTo>
                      <a:pt x="306" y="73"/>
                    </a:lnTo>
                    <a:lnTo>
                      <a:pt x="314" y="61"/>
                    </a:lnTo>
                    <a:lnTo>
                      <a:pt x="314" y="45"/>
                    </a:lnTo>
                    <a:lnTo>
                      <a:pt x="306" y="45"/>
                    </a:lnTo>
                    <a:lnTo>
                      <a:pt x="302" y="41"/>
                    </a:lnTo>
                    <a:lnTo>
                      <a:pt x="302" y="33"/>
                    </a:lnTo>
                    <a:lnTo>
                      <a:pt x="302" y="21"/>
                    </a:lnTo>
                    <a:lnTo>
                      <a:pt x="318" y="12"/>
                    </a:lnTo>
                    <a:lnTo>
                      <a:pt x="326" y="0"/>
                    </a:lnTo>
                    <a:lnTo>
                      <a:pt x="335" y="0"/>
                    </a:lnTo>
                    <a:lnTo>
                      <a:pt x="351" y="0"/>
                    </a:lnTo>
                    <a:lnTo>
                      <a:pt x="367" y="21"/>
                    </a:lnTo>
                    <a:lnTo>
                      <a:pt x="383" y="33"/>
                    </a:lnTo>
                    <a:lnTo>
                      <a:pt x="387" y="37"/>
                    </a:lnTo>
                    <a:lnTo>
                      <a:pt x="395" y="37"/>
                    </a:lnTo>
                    <a:lnTo>
                      <a:pt x="415" y="37"/>
                    </a:lnTo>
                    <a:lnTo>
                      <a:pt x="439" y="37"/>
                    </a:lnTo>
                    <a:lnTo>
                      <a:pt x="464" y="57"/>
                    </a:lnTo>
                    <a:lnTo>
                      <a:pt x="468" y="65"/>
                    </a:lnTo>
                    <a:lnTo>
                      <a:pt x="492" y="73"/>
                    </a:lnTo>
                    <a:lnTo>
                      <a:pt x="520" y="81"/>
                    </a:lnTo>
                    <a:lnTo>
                      <a:pt x="544" y="101"/>
                    </a:lnTo>
                    <a:lnTo>
                      <a:pt x="560" y="113"/>
                    </a:lnTo>
                    <a:lnTo>
                      <a:pt x="581" y="117"/>
                    </a:lnTo>
                    <a:lnTo>
                      <a:pt x="601" y="117"/>
                    </a:lnTo>
                    <a:lnTo>
                      <a:pt x="609" y="125"/>
                    </a:lnTo>
                    <a:lnTo>
                      <a:pt x="625" y="138"/>
                    </a:lnTo>
                    <a:lnTo>
                      <a:pt x="665" y="138"/>
                    </a:lnTo>
                    <a:lnTo>
                      <a:pt x="706" y="138"/>
                    </a:lnTo>
                    <a:lnTo>
                      <a:pt x="714" y="138"/>
                    </a:lnTo>
                    <a:lnTo>
                      <a:pt x="718" y="142"/>
                    </a:lnTo>
                    <a:lnTo>
                      <a:pt x="738" y="150"/>
                    </a:lnTo>
                    <a:lnTo>
                      <a:pt x="754" y="154"/>
                    </a:lnTo>
                    <a:lnTo>
                      <a:pt x="758" y="158"/>
                    </a:lnTo>
                    <a:lnTo>
                      <a:pt x="766" y="162"/>
                    </a:lnTo>
                    <a:lnTo>
                      <a:pt x="766" y="174"/>
                    </a:lnTo>
                    <a:lnTo>
                      <a:pt x="770" y="178"/>
                    </a:lnTo>
                    <a:lnTo>
                      <a:pt x="774" y="186"/>
                    </a:lnTo>
                    <a:lnTo>
                      <a:pt x="778" y="194"/>
                    </a:lnTo>
                    <a:lnTo>
                      <a:pt x="794" y="198"/>
                    </a:lnTo>
                    <a:lnTo>
                      <a:pt x="802" y="206"/>
                    </a:lnTo>
                    <a:lnTo>
                      <a:pt x="807" y="222"/>
                    </a:lnTo>
                    <a:lnTo>
                      <a:pt x="819" y="234"/>
                    </a:lnTo>
                    <a:lnTo>
                      <a:pt x="835" y="259"/>
                    </a:lnTo>
                    <a:lnTo>
                      <a:pt x="847" y="267"/>
                    </a:lnTo>
                    <a:lnTo>
                      <a:pt x="851" y="275"/>
                    </a:lnTo>
                    <a:lnTo>
                      <a:pt x="851" y="279"/>
                    </a:lnTo>
                    <a:lnTo>
                      <a:pt x="863" y="295"/>
                    </a:lnTo>
                    <a:lnTo>
                      <a:pt x="875" y="311"/>
                    </a:lnTo>
                    <a:lnTo>
                      <a:pt x="911" y="315"/>
                    </a:lnTo>
                    <a:lnTo>
                      <a:pt x="940" y="315"/>
                    </a:lnTo>
                    <a:lnTo>
                      <a:pt x="948" y="319"/>
                    </a:lnTo>
                    <a:lnTo>
                      <a:pt x="960" y="323"/>
                    </a:lnTo>
                    <a:lnTo>
                      <a:pt x="968" y="331"/>
                    </a:lnTo>
                    <a:lnTo>
                      <a:pt x="972" y="335"/>
                    </a:lnTo>
                    <a:lnTo>
                      <a:pt x="980" y="355"/>
                    </a:lnTo>
                    <a:lnTo>
                      <a:pt x="992" y="368"/>
                    </a:lnTo>
                    <a:lnTo>
                      <a:pt x="1020" y="392"/>
                    </a:lnTo>
                    <a:lnTo>
                      <a:pt x="1057" y="416"/>
                    </a:lnTo>
                    <a:lnTo>
                      <a:pt x="1065" y="428"/>
                    </a:lnTo>
                    <a:lnTo>
                      <a:pt x="1077" y="448"/>
                    </a:lnTo>
                    <a:lnTo>
                      <a:pt x="1077" y="452"/>
                    </a:lnTo>
                    <a:lnTo>
                      <a:pt x="1081" y="452"/>
                    </a:lnTo>
                    <a:lnTo>
                      <a:pt x="1093" y="468"/>
                    </a:lnTo>
                    <a:lnTo>
                      <a:pt x="1101" y="489"/>
                    </a:lnTo>
                    <a:lnTo>
                      <a:pt x="1101" y="493"/>
                    </a:lnTo>
                    <a:lnTo>
                      <a:pt x="1105" y="505"/>
                    </a:lnTo>
                    <a:lnTo>
                      <a:pt x="1121" y="529"/>
                    </a:lnTo>
                    <a:lnTo>
                      <a:pt x="1141" y="549"/>
                    </a:lnTo>
                    <a:lnTo>
                      <a:pt x="1145" y="573"/>
                    </a:lnTo>
                    <a:lnTo>
                      <a:pt x="1149" y="593"/>
                    </a:lnTo>
                    <a:lnTo>
                      <a:pt x="1166" y="618"/>
                    </a:lnTo>
                    <a:lnTo>
                      <a:pt x="1174" y="630"/>
                    </a:lnTo>
                    <a:lnTo>
                      <a:pt x="1186" y="634"/>
                    </a:lnTo>
                    <a:lnTo>
                      <a:pt x="1194" y="638"/>
                    </a:lnTo>
                    <a:lnTo>
                      <a:pt x="1202" y="638"/>
                    </a:lnTo>
                    <a:lnTo>
                      <a:pt x="1214" y="638"/>
                    </a:lnTo>
                    <a:lnTo>
                      <a:pt x="1218" y="630"/>
                    </a:lnTo>
                    <a:lnTo>
                      <a:pt x="1226" y="622"/>
                    </a:lnTo>
                    <a:lnTo>
                      <a:pt x="1258" y="606"/>
                    </a:lnTo>
                    <a:lnTo>
                      <a:pt x="1287" y="581"/>
                    </a:lnTo>
                    <a:lnTo>
                      <a:pt x="1295" y="581"/>
                    </a:lnTo>
                    <a:lnTo>
                      <a:pt x="1307" y="581"/>
                    </a:lnTo>
                    <a:lnTo>
                      <a:pt x="1311" y="581"/>
                    </a:lnTo>
                    <a:lnTo>
                      <a:pt x="1315" y="585"/>
                    </a:lnTo>
                    <a:lnTo>
                      <a:pt x="1315" y="593"/>
                    </a:lnTo>
                    <a:lnTo>
                      <a:pt x="1315" y="606"/>
                    </a:lnTo>
                    <a:lnTo>
                      <a:pt x="1295" y="622"/>
                    </a:lnTo>
                    <a:lnTo>
                      <a:pt x="1287" y="630"/>
                    </a:lnTo>
                    <a:lnTo>
                      <a:pt x="1287" y="666"/>
                    </a:lnTo>
                    <a:lnTo>
                      <a:pt x="1279" y="706"/>
                    </a:lnTo>
                    <a:lnTo>
                      <a:pt x="1262" y="719"/>
                    </a:lnTo>
                    <a:lnTo>
                      <a:pt x="1258" y="727"/>
                    </a:lnTo>
                    <a:lnTo>
                      <a:pt x="1250" y="743"/>
                    </a:lnTo>
                    <a:lnTo>
                      <a:pt x="1246" y="755"/>
                    </a:lnTo>
                    <a:lnTo>
                      <a:pt x="1234" y="771"/>
                    </a:lnTo>
                    <a:lnTo>
                      <a:pt x="1218" y="779"/>
                    </a:lnTo>
                    <a:lnTo>
                      <a:pt x="1202" y="799"/>
                    </a:lnTo>
                    <a:lnTo>
                      <a:pt x="1190" y="823"/>
                    </a:lnTo>
                    <a:lnTo>
                      <a:pt x="1186" y="823"/>
                    </a:lnTo>
                    <a:lnTo>
                      <a:pt x="1182" y="823"/>
                    </a:lnTo>
                    <a:lnTo>
                      <a:pt x="1186" y="823"/>
                    </a:lnTo>
                    <a:lnTo>
                      <a:pt x="1186" y="827"/>
                    </a:lnTo>
                    <a:lnTo>
                      <a:pt x="1170" y="848"/>
                    </a:lnTo>
                    <a:lnTo>
                      <a:pt x="1166" y="868"/>
                    </a:lnTo>
                    <a:lnTo>
                      <a:pt x="1149" y="876"/>
                    </a:lnTo>
                    <a:lnTo>
                      <a:pt x="1137" y="884"/>
                    </a:lnTo>
                    <a:lnTo>
                      <a:pt x="1129" y="884"/>
                    </a:lnTo>
                    <a:lnTo>
                      <a:pt x="1117" y="884"/>
                    </a:lnTo>
                    <a:lnTo>
                      <a:pt x="1109" y="880"/>
                    </a:lnTo>
                    <a:lnTo>
                      <a:pt x="1101" y="876"/>
                    </a:lnTo>
                    <a:lnTo>
                      <a:pt x="1077" y="876"/>
                    </a:lnTo>
                    <a:lnTo>
                      <a:pt x="1049" y="872"/>
                    </a:lnTo>
                    <a:lnTo>
                      <a:pt x="1028" y="904"/>
                    </a:lnTo>
                    <a:lnTo>
                      <a:pt x="1020" y="912"/>
                    </a:lnTo>
                    <a:lnTo>
                      <a:pt x="1004" y="916"/>
                    </a:lnTo>
                    <a:lnTo>
                      <a:pt x="992" y="924"/>
                    </a:lnTo>
                    <a:lnTo>
                      <a:pt x="964" y="928"/>
                    </a:lnTo>
                    <a:lnTo>
                      <a:pt x="940" y="932"/>
                    </a:lnTo>
                    <a:lnTo>
                      <a:pt x="915" y="936"/>
                    </a:lnTo>
                    <a:lnTo>
                      <a:pt x="871" y="953"/>
                    </a:lnTo>
                    <a:lnTo>
                      <a:pt x="859" y="965"/>
                    </a:lnTo>
                    <a:lnTo>
                      <a:pt x="851" y="981"/>
                    </a:lnTo>
                    <a:lnTo>
                      <a:pt x="835" y="993"/>
                    </a:lnTo>
                    <a:lnTo>
                      <a:pt x="823" y="1001"/>
                    </a:lnTo>
                    <a:lnTo>
                      <a:pt x="770" y="1005"/>
                    </a:lnTo>
                    <a:lnTo>
                      <a:pt x="726" y="1005"/>
                    </a:lnTo>
                    <a:lnTo>
                      <a:pt x="706" y="1001"/>
                    </a:lnTo>
                    <a:lnTo>
                      <a:pt x="677" y="993"/>
                    </a:lnTo>
                    <a:lnTo>
                      <a:pt x="661" y="993"/>
                    </a:lnTo>
                    <a:lnTo>
                      <a:pt x="641" y="993"/>
                    </a:lnTo>
                    <a:lnTo>
                      <a:pt x="629" y="993"/>
                    </a:lnTo>
                    <a:lnTo>
                      <a:pt x="625" y="989"/>
                    </a:lnTo>
                    <a:lnTo>
                      <a:pt x="625" y="981"/>
                    </a:lnTo>
                    <a:lnTo>
                      <a:pt x="617" y="977"/>
                    </a:lnTo>
                    <a:lnTo>
                      <a:pt x="593" y="977"/>
                    </a:lnTo>
                    <a:lnTo>
                      <a:pt x="560" y="977"/>
                    </a:lnTo>
                    <a:lnTo>
                      <a:pt x="552" y="989"/>
                    </a:lnTo>
                    <a:lnTo>
                      <a:pt x="544" y="993"/>
                    </a:lnTo>
                    <a:lnTo>
                      <a:pt x="528" y="993"/>
                    </a:lnTo>
                    <a:lnTo>
                      <a:pt x="516" y="993"/>
                    </a:lnTo>
                    <a:lnTo>
                      <a:pt x="476" y="1005"/>
                    </a:lnTo>
                    <a:lnTo>
                      <a:pt x="439" y="1013"/>
                    </a:lnTo>
                    <a:lnTo>
                      <a:pt x="423" y="1013"/>
                    </a:lnTo>
                    <a:lnTo>
                      <a:pt x="407" y="1013"/>
                    </a:lnTo>
                    <a:lnTo>
                      <a:pt x="387" y="1005"/>
                    </a:lnTo>
                    <a:lnTo>
                      <a:pt x="367" y="1001"/>
                    </a:lnTo>
                    <a:lnTo>
                      <a:pt x="359" y="993"/>
                    </a:lnTo>
                    <a:lnTo>
                      <a:pt x="355" y="977"/>
                    </a:lnTo>
                    <a:lnTo>
                      <a:pt x="347" y="977"/>
                    </a:lnTo>
                    <a:lnTo>
                      <a:pt x="335" y="977"/>
                    </a:lnTo>
                    <a:lnTo>
                      <a:pt x="326" y="981"/>
                    </a:lnTo>
                    <a:lnTo>
                      <a:pt x="314" y="989"/>
                    </a:lnTo>
                    <a:lnTo>
                      <a:pt x="294" y="997"/>
                    </a:lnTo>
                    <a:lnTo>
                      <a:pt x="274" y="1013"/>
                    </a:lnTo>
                    <a:lnTo>
                      <a:pt x="266" y="1029"/>
                    </a:lnTo>
                    <a:lnTo>
                      <a:pt x="258" y="1053"/>
                    </a:lnTo>
                    <a:lnTo>
                      <a:pt x="246" y="1061"/>
                    </a:lnTo>
                    <a:lnTo>
                      <a:pt x="222" y="1065"/>
                    </a:lnTo>
                    <a:lnTo>
                      <a:pt x="214" y="1074"/>
                    </a:lnTo>
                    <a:lnTo>
                      <a:pt x="201" y="1082"/>
                    </a:lnTo>
                    <a:lnTo>
                      <a:pt x="201" y="1102"/>
                    </a:lnTo>
                    <a:lnTo>
                      <a:pt x="201" y="1130"/>
                    </a:lnTo>
                    <a:lnTo>
                      <a:pt x="189" y="1142"/>
                    </a:lnTo>
                    <a:lnTo>
                      <a:pt x="173" y="1154"/>
                    </a:lnTo>
                    <a:lnTo>
                      <a:pt x="173" y="1170"/>
                    </a:lnTo>
                    <a:lnTo>
                      <a:pt x="165" y="1187"/>
                    </a:lnTo>
                    <a:lnTo>
                      <a:pt x="165" y="1191"/>
                    </a:lnTo>
                    <a:lnTo>
                      <a:pt x="161" y="1191"/>
                    </a:lnTo>
                    <a:lnTo>
                      <a:pt x="153" y="1195"/>
                    </a:lnTo>
                    <a:lnTo>
                      <a:pt x="137" y="1203"/>
                    </a:lnTo>
                    <a:lnTo>
                      <a:pt x="101" y="1203"/>
                    </a:lnTo>
                    <a:lnTo>
                      <a:pt x="60" y="120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24" name="Freeform 32"/>
              <p:cNvSpPr>
                <a:spLocks/>
              </p:cNvSpPr>
              <p:nvPr/>
            </p:nvSpPr>
            <p:spPr bwMode="auto">
              <a:xfrm>
                <a:off x="5484900" y="4180045"/>
                <a:ext cx="1749426" cy="977699"/>
              </a:xfrm>
              <a:custGeom>
                <a:avLst/>
                <a:gdLst>
                  <a:gd name="T0" fmla="*/ 910428053 w 1949"/>
                  <a:gd name="T1" fmla="*/ 742595352 h 1098"/>
                  <a:gd name="T2" fmla="*/ 874172149 w 1949"/>
                  <a:gd name="T3" fmla="*/ 745635402 h 1098"/>
                  <a:gd name="T4" fmla="*/ 812939597 w 1949"/>
                  <a:gd name="T5" fmla="*/ 714472931 h 1098"/>
                  <a:gd name="T6" fmla="*/ 721896814 w 1949"/>
                  <a:gd name="T7" fmla="*/ 717512980 h 1098"/>
                  <a:gd name="T8" fmla="*/ 682417624 w 1949"/>
                  <a:gd name="T9" fmla="*/ 684069818 h 1098"/>
                  <a:gd name="T10" fmla="*/ 611517010 w 1949"/>
                  <a:gd name="T11" fmla="*/ 610342291 h 1098"/>
                  <a:gd name="T12" fmla="*/ 490663997 w 1949"/>
                  <a:gd name="T13" fmla="*/ 610342291 h 1098"/>
                  <a:gd name="T14" fmla="*/ 360947958 w 1949"/>
                  <a:gd name="T15" fmla="*/ 601221270 h 1098"/>
                  <a:gd name="T16" fmla="*/ 286019808 w 1949"/>
                  <a:gd name="T17" fmla="*/ 567778108 h 1098"/>
                  <a:gd name="T18" fmla="*/ 207867419 w 1949"/>
                  <a:gd name="T19" fmla="*/ 576899129 h 1098"/>
                  <a:gd name="T20" fmla="*/ 156303825 w 1949"/>
                  <a:gd name="T21" fmla="*/ 539654815 h 1098"/>
                  <a:gd name="T22" fmla="*/ 133744417 w 1949"/>
                  <a:gd name="T23" fmla="*/ 497090631 h 1098"/>
                  <a:gd name="T24" fmla="*/ 107156546 w 1949"/>
                  <a:gd name="T25" fmla="*/ 364837461 h 1098"/>
                  <a:gd name="T26" fmla="*/ 39478306 w 1949"/>
                  <a:gd name="T27" fmla="*/ 300990315 h 1098"/>
                  <a:gd name="T28" fmla="*/ 3222389 w 1949"/>
                  <a:gd name="T29" fmla="*/ 245504830 h 1098"/>
                  <a:gd name="T30" fmla="*/ 16113742 w 1949"/>
                  <a:gd name="T31" fmla="*/ 186979241 h 1098"/>
                  <a:gd name="T32" fmla="*/ 78151464 w 1949"/>
                  <a:gd name="T33" fmla="*/ 159616178 h 1098"/>
                  <a:gd name="T34" fmla="*/ 55592939 w 1949"/>
                  <a:gd name="T35" fmla="*/ 88928674 h 1098"/>
                  <a:gd name="T36" fmla="*/ 68483402 w 1949"/>
                  <a:gd name="T37" fmla="*/ 0 h 1098"/>
                  <a:gd name="T38" fmla="*/ 103934158 w 1949"/>
                  <a:gd name="T39" fmla="*/ 31163357 h 1098"/>
                  <a:gd name="T40" fmla="*/ 81374749 w 1949"/>
                  <a:gd name="T41" fmla="*/ 67646582 h 1098"/>
                  <a:gd name="T42" fmla="*/ 116824608 w 1949"/>
                  <a:gd name="T43" fmla="*/ 120092045 h 1098"/>
                  <a:gd name="T44" fmla="*/ 172417560 w 1949"/>
                  <a:gd name="T45" fmla="*/ 132253115 h 1098"/>
                  <a:gd name="T46" fmla="*/ 315830038 w 1949"/>
                  <a:gd name="T47" fmla="*/ 132253115 h 1098"/>
                  <a:gd name="T48" fmla="*/ 348057509 w 1949"/>
                  <a:gd name="T49" fmla="*/ 165697150 h 1098"/>
                  <a:gd name="T50" fmla="*/ 380284979 w 1949"/>
                  <a:gd name="T51" fmla="*/ 212061613 h 1098"/>
                  <a:gd name="T52" fmla="*/ 429432230 w 1949"/>
                  <a:gd name="T53" fmla="*/ 236383809 h 1098"/>
                  <a:gd name="T54" fmla="*/ 474550262 w 1949"/>
                  <a:gd name="T55" fmla="*/ 212061613 h 1098"/>
                  <a:gd name="T56" fmla="*/ 523697513 w 1949"/>
                  <a:gd name="T57" fmla="*/ 177858220 h 1098"/>
                  <a:gd name="T58" fmla="*/ 533365575 w 1949"/>
                  <a:gd name="T59" fmla="*/ 224222684 h 1098"/>
                  <a:gd name="T60" fmla="*/ 640522093 w 1949"/>
                  <a:gd name="T61" fmla="*/ 218142584 h 1098"/>
                  <a:gd name="T62" fmla="*/ 679195236 w 1949"/>
                  <a:gd name="T63" fmla="*/ 218142584 h 1098"/>
                  <a:gd name="T64" fmla="*/ 741232937 w 1949"/>
                  <a:gd name="T65" fmla="*/ 224222684 h 1098"/>
                  <a:gd name="T66" fmla="*/ 800048250 w 1949"/>
                  <a:gd name="T67" fmla="*/ 190019291 h 1098"/>
                  <a:gd name="T68" fmla="*/ 835499006 w 1949"/>
                  <a:gd name="T69" fmla="*/ 153535207 h 1098"/>
                  <a:gd name="T70" fmla="*/ 880616925 w 1949"/>
                  <a:gd name="T71" fmla="*/ 171777249 h 1098"/>
                  <a:gd name="T72" fmla="*/ 961991871 w 1949"/>
                  <a:gd name="T73" fmla="*/ 215101663 h 1098"/>
                  <a:gd name="T74" fmla="*/ 1011139122 w 1949"/>
                  <a:gd name="T75" fmla="*/ 215101663 h 1098"/>
                  <a:gd name="T76" fmla="*/ 1075594063 w 1949"/>
                  <a:gd name="T77" fmla="*/ 168737199 h 1098"/>
                  <a:gd name="T78" fmla="*/ 1166636846 w 1949"/>
                  <a:gd name="T79" fmla="*/ 132253115 h 1098"/>
                  <a:gd name="T80" fmla="*/ 1254456343 w 1949"/>
                  <a:gd name="T81" fmla="*/ 168737199 h 1098"/>
                  <a:gd name="T82" fmla="*/ 1351944799 w 1949"/>
                  <a:gd name="T83" fmla="*/ 180898270 h 1098"/>
                  <a:gd name="T84" fmla="*/ 1391423989 w 1949"/>
                  <a:gd name="T85" fmla="*/ 212061613 h 1098"/>
                  <a:gd name="T86" fmla="*/ 1439765194 w 1949"/>
                  <a:gd name="T87" fmla="*/ 251585801 h 1098"/>
                  <a:gd name="T88" fmla="*/ 1492134833 w 1949"/>
                  <a:gd name="T89" fmla="*/ 291869294 h 1098"/>
                  <a:gd name="T90" fmla="*/ 1546921712 w 1949"/>
                  <a:gd name="T91" fmla="*/ 346595419 h 1098"/>
                  <a:gd name="T92" fmla="*/ 1560618208 w 1949"/>
                  <a:gd name="T93" fmla="*/ 395999933 h 1098"/>
                  <a:gd name="T94" fmla="*/ 1492134833 w 1949"/>
                  <a:gd name="T95" fmla="*/ 518372723 h 1098"/>
                  <a:gd name="T96" fmla="*/ 1530807977 w 1949"/>
                  <a:gd name="T97" fmla="*/ 545735786 h 1098"/>
                  <a:gd name="T98" fmla="*/ 1521139018 w 1949"/>
                  <a:gd name="T99" fmla="*/ 598181221 h 1098"/>
                  <a:gd name="T100" fmla="*/ 1472797813 w 1949"/>
                  <a:gd name="T101" fmla="*/ 668867826 h 1098"/>
                  <a:gd name="T102" fmla="*/ 1426873847 w 1949"/>
                  <a:gd name="T103" fmla="*/ 631624383 h 1098"/>
                  <a:gd name="T104" fmla="*/ 1335831064 w 1949"/>
                  <a:gd name="T105" fmla="*/ 668867826 h 1098"/>
                  <a:gd name="T106" fmla="*/ 1310049268 w 1949"/>
                  <a:gd name="T107" fmla="*/ 708391959 h 1098"/>
                  <a:gd name="T108" fmla="*/ 1260902016 w 1949"/>
                  <a:gd name="T109" fmla="*/ 736515253 h 1098"/>
                  <a:gd name="T110" fmla="*/ 1231897832 w 1949"/>
                  <a:gd name="T111" fmla="*/ 785159536 h 1098"/>
                  <a:gd name="T112" fmla="*/ 1177110953 w 1949"/>
                  <a:gd name="T113" fmla="*/ 779079436 h 1098"/>
                  <a:gd name="T114" fmla="*/ 1121518028 w 1949"/>
                  <a:gd name="T115" fmla="*/ 742595352 h 1098"/>
                  <a:gd name="T116" fmla="*/ 1059480328 w 1949"/>
                  <a:gd name="T117" fmla="*/ 754756423 h 1098"/>
                  <a:gd name="T118" fmla="*/ 1049812266 w 1949"/>
                  <a:gd name="T119" fmla="*/ 788200457 h 1098"/>
                  <a:gd name="T120" fmla="*/ 982134040 w 1949"/>
                  <a:gd name="T121" fmla="*/ 822403850 h 109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949"/>
                  <a:gd name="T184" fmla="*/ 0 h 1098"/>
                  <a:gd name="T185" fmla="*/ 1949 w 1949"/>
                  <a:gd name="T186" fmla="*/ 1098 h 109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949" h="1098">
                    <a:moveTo>
                      <a:pt x="1174" y="1098"/>
                    </a:moveTo>
                    <a:lnTo>
                      <a:pt x="1170" y="1094"/>
                    </a:lnTo>
                    <a:lnTo>
                      <a:pt x="1166" y="1057"/>
                    </a:lnTo>
                    <a:lnTo>
                      <a:pt x="1154" y="1029"/>
                    </a:lnTo>
                    <a:lnTo>
                      <a:pt x="1138" y="989"/>
                    </a:lnTo>
                    <a:lnTo>
                      <a:pt x="1130" y="977"/>
                    </a:lnTo>
                    <a:lnTo>
                      <a:pt x="1118" y="969"/>
                    </a:lnTo>
                    <a:lnTo>
                      <a:pt x="1110" y="969"/>
                    </a:lnTo>
                    <a:lnTo>
                      <a:pt x="1097" y="977"/>
                    </a:lnTo>
                    <a:lnTo>
                      <a:pt x="1093" y="977"/>
                    </a:lnTo>
                    <a:lnTo>
                      <a:pt x="1089" y="981"/>
                    </a:lnTo>
                    <a:lnTo>
                      <a:pt x="1085" y="981"/>
                    </a:lnTo>
                    <a:lnTo>
                      <a:pt x="1081" y="981"/>
                    </a:lnTo>
                    <a:lnTo>
                      <a:pt x="1069" y="965"/>
                    </a:lnTo>
                    <a:lnTo>
                      <a:pt x="1061" y="952"/>
                    </a:lnTo>
                    <a:lnTo>
                      <a:pt x="1053" y="944"/>
                    </a:lnTo>
                    <a:lnTo>
                      <a:pt x="1041" y="940"/>
                    </a:lnTo>
                    <a:lnTo>
                      <a:pt x="1009" y="940"/>
                    </a:lnTo>
                    <a:lnTo>
                      <a:pt x="993" y="932"/>
                    </a:lnTo>
                    <a:lnTo>
                      <a:pt x="964" y="932"/>
                    </a:lnTo>
                    <a:lnTo>
                      <a:pt x="940" y="932"/>
                    </a:lnTo>
                    <a:lnTo>
                      <a:pt x="924" y="940"/>
                    </a:lnTo>
                    <a:lnTo>
                      <a:pt x="916" y="944"/>
                    </a:lnTo>
                    <a:lnTo>
                      <a:pt x="896" y="944"/>
                    </a:lnTo>
                    <a:lnTo>
                      <a:pt x="876" y="944"/>
                    </a:lnTo>
                    <a:lnTo>
                      <a:pt x="863" y="932"/>
                    </a:lnTo>
                    <a:lnTo>
                      <a:pt x="855" y="924"/>
                    </a:lnTo>
                    <a:lnTo>
                      <a:pt x="855" y="908"/>
                    </a:lnTo>
                    <a:lnTo>
                      <a:pt x="847" y="900"/>
                    </a:lnTo>
                    <a:lnTo>
                      <a:pt x="831" y="872"/>
                    </a:lnTo>
                    <a:lnTo>
                      <a:pt x="811" y="843"/>
                    </a:lnTo>
                    <a:lnTo>
                      <a:pt x="799" y="835"/>
                    </a:lnTo>
                    <a:lnTo>
                      <a:pt x="795" y="823"/>
                    </a:lnTo>
                    <a:lnTo>
                      <a:pt x="767" y="811"/>
                    </a:lnTo>
                    <a:lnTo>
                      <a:pt x="759" y="803"/>
                    </a:lnTo>
                    <a:lnTo>
                      <a:pt x="718" y="803"/>
                    </a:lnTo>
                    <a:lnTo>
                      <a:pt x="682" y="803"/>
                    </a:lnTo>
                    <a:lnTo>
                      <a:pt x="678" y="803"/>
                    </a:lnTo>
                    <a:lnTo>
                      <a:pt x="670" y="803"/>
                    </a:lnTo>
                    <a:lnTo>
                      <a:pt x="642" y="803"/>
                    </a:lnTo>
                    <a:lnTo>
                      <a:pt x="609" y="803"/>
                    </a:lnTo>
                    <a:lnTo>
                      <a:pt x="553" y="819"/>
                    </a:lnTo>
                    <a:lnTo>
                      <a:pt x="533" y="819"/>
                    </a:lnTo>
                    <a:lnTo>
                      <a:pt x="521" y="811"/>
                    </a:lnTo>
                    <a:lnTo>
                      <a:pt x="508" y="803"/>
                    </a:lnTo>
                    <a:lnTo>
                      <a:pt x="476" y="799"/>
                    </a:lnTo>
                    <a:lnTo>
                      <a:pt x="448" y="791"/>
                    </a:lnTo>
                    <a:lnTo>
                      <a:pt x="440" y="787"/>
                    </a:lnTo>
                    <a:lnTo>
                      <a:pt x="432" y="783"/>
                    </a:lnTo>
                    <a:lnTo>
                      <a:pt x="408" y="775"/>
                    </a:lnTo>
                    <a:lnTo>
                      <a:pt x="383" y="771"/>
                    </a:lnTo>
                    <a:lnTo>
                      <a:pt x="367" y="759"/>
                    </a:lnTo>
                    <a:lnTo>
                      <a:pt x="355" y="747"/>
                    </a:lnTo>
                    <a:lnTo>
                      <a:pt x="339" y="747"/>
                    </a:lnTo>
                    <a:lnTo>
                      <a:pt x="335" y="739"/>
                    </a:lnTo>
                    <a:lnTo>
                      <a:pt x="315" y="739"/>
                    </a:lnTo>
                    <a:lnTo>
                      <a:pt x="291" y="739"/>
                    </a:lnTo>
                    <a:lnTo>
                      <a:pt x="283" y="747"/>
                    </a:lnTo>
                    <a:lnTo>
                      <a:pt x="258" y="759"/>
                    </a:lnTo>
                    <a:lnTo>
                      <a:pt x="254" y="759"/>
                    </a:lnTo>
                    <a:lnTo>
                      <a:pt x="254" y="763"/>
                    </a:lnTo>
                    <a:lnTo>
                      <a:pt x="238" y="763"/>
                    </a:lnTo>
                    <a:lnTo>
                      <a:pt x="214" y="759"/>
                    </a:lnTo>
                    <a:lnTo>
                      <a:pt x="202" y="726"/>
                    </a:lnTo>
                    <a:lnTo>
                      <a:pt x="194" y="710"/>
                    </a:lnTo>
                    <a:lnTo>
                      <a:pt x="194" y="690"/>
                    </a:lnTo>
                    <a:lnTo>
                      <a:pt x="190" y="674"/>
                    </a:lnTo>
                    <a:lnTo>
                      <a:pt x="190" y="662"/>
                    </a:lnTo>
                    <a:lnTo>
                      <a:pt x="178" y="654"/>
                    </a:lnTo>
                    <a:lnTo>
                      <a:pt x="174" y="654"/>
                    </a:lnTo>
                    <a:lnTo>
                      <a:pt x="166" y="654"/>
                    </a:lnTo>
                    <a:lnTo>
                      <a:pt x="162" y="650"/>
                    </a:lnTo>
                    <a:lnTo>
                      <a:pt x="153" y="646"/>
                    </a:lnTo>
                    <a:lnTo>
                      <a:pt x="153" y="601"/>
                    </a:lnTo>
                    <a:lnTo>
                      <a:pt x="149" y="561"/>
                    </a:lnTo>
                    <a:lnTo>
                      <a:pt x="141" y="521"/>
                    </a:lnTo>
                    <a:lnTo>
                      <a:pt x="133" y="480"/>
                    </a:lnTo>
                    <a:lnTo>
                      <a:pt x="109" y="468"/>
                    </a:lnTo>
                    <a:lnTo>
                      <a:pt x="89" y="464"/>
                    </a:lnTo>
                    <a:lnTo>
                      <a:pt x="73" y="440"/>
                    </a:lnTo>
                    <a:lnTo>
                      <a:pt x="65" y="420"/>
                    </a:lnTo>
                    <a:lnTo>
                      <a:pt x="57" y="408"/>
                    </a:lnTo>
                    <a:lnTo>
                      <a:pt x="49" y="396"/>
                    </a:lnTo>
                    <a:lnTo>
                      <a:pt x="37" y="392"/>
                    </a:lnTo>
                    <a:lnTo>
                      <a:pt x="28" y="384"/>
                    </a:lnTo>
                    <a:lnTo>
                      <a:pt x="20" y="371"/>
                    </a:lnTo>
                    <a:lnTo>
                      <a:pt x="20" y="359"/>
                    </a:lnTo>
                    <a:lnTo>
                      <a:pt x="16" y="343"/>
                    </a:lnTo>
                    <a:lnTo>
                      <a:pt x="4" y="323"/>
                    </a:lnTo>
                    <a:lnTo>
                      <a:pt x="0" y="307"/>
                    </a:lnTo>
                    <a:lnTo>
                      <a:pt x="0" y="283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16" y="246"/>
                    </a:lnTo>
                    <a:lnTo>
                      <a:pt x="20" y="246"/>
                    </a:lnTo>
                    <a:lnTo>
                      <a:pt x="28" y="258"/>
                    </a:lnTo>
                    <a:lnTo>
                      <a:pt x="32" y="258"/>
                    </a:lnTo>
                    <a:lnTo>
                      <a:pt x="49" y="258"/>
                    </a:lnTo>
                    <a:lnTo>
                      <a:pt x="61" y="258"/>
                    </a:lnTo>
                    <a:lnTo>
                      <a:pt x="81" y="234"/>
                    </a:lnTo>
                    <a:lnTo>
                      <a:pt x="97" y="210"/>
                    </a:lnTo>
                    <a:lnTo>
                      <a:pt x="97" y="178"/>
                    </a:lnTo>
                    <a:lnTo>
                      <a:pt x="85" y="150"/>
                    </a:lnTo>
                    <a:lnTo>
                      <a:pt x="81" y="150"/>
                    </a:lnTo>
                    <a:lnTo>
                      <a:pt x="73" y="150"/>
                    </a:lnTo>
                    <a:lnTo>
                      <a:pt x="73" y="137"/>
                    </a:lnTo>
                    <a:lnTo>
                      <a:pt x="69" y="117"/>
                    </a:lnTo>
                    <a:lnTo>
                      <a:pt x="69" y="109"/>
                    </a:lnTo>
                    <a:lnTo>
                      <a:pt x="65" y="101"/>
                    </a:lnTo>
                    <a:lnTo>
                      <a:pt x="65" y="73"/>
                    </a:lnTo>
                    <a:lnTo>
                      <a:pt x="65" y="49"/>
                    </a:lnTo>
                    <a:lnTo>
                      <a:pt x="73" y="24"/>
                    </a:lnTo>
                    <a:lnTo>
                      <a:pt x="85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9" y="12"/>
                    </a:lnTo>
                    <a:lnTo>
                      <a:pt x="117" y="24"/>
                    </a:lnTo>
                    <a:lnTo>
                      <a:pt x="121" y="29"/>
                    </a:lnTo>
                    <a:lnTo>
                      <a:pt x="129" y="41"/>
                    </a:lnTo>
                    <a:lnTo>
                      <a:pt x="129" y="49"/>
                    </a:lnTo>
                    <a:lnTo>
                      <a:pt x="129" y="53"/>
                    </a:lnTo>
                    <a:lnTo>
                      <a:pt x="117" y="65"/>
                    </a:lnTo>
                    <a:lnTo>
                      <a:pt x="101" y="73"/>
                    </a:lnTo>
                    <a:lnTo>
                      <a:pt x="101" y="77"/>
                    </a:lnTo>
                    <a:lnTo>
                      <a:pt x="101" y="89"/>
                    </a:lnTo>
                    <a:lnTo>
                      <a:pt x="121" y="125"/>
                    </a:lnTo>
                    <a:lnTo>
                      <a:pt x="133" y="146"/>
                    </a:lnTo>
                    <a:lnTo>
                      <a:pt x="133" y="154"/>
                    </a:lnTo>
                    <a:lnTo>
                      <a:pt x="133" y="162"/>
                    </a:lnTo>
                    <a:lnTo>
                      <a:pt x="137" y="158"/>
                    </a:lnTo>
                    <a:lnTo>
                      <a:pt x="145" y="158"/>
                    </a:lnTo>
                    <a:lnTo>
                      <a:pt x="149" y="158"/>
                    </a:lnTo>
                    <a:lnTo>
                      <a:pt x="153" y="166"/>
                    </a:lnTo>
                    <a:lnTo>
                      <a:pt x="153" y="174"/>
                    </a:lnTo>
                    <a:lnTo>
                      <a:pt x="186" y="174"/>
                    </a:lnTo>
                    <a:lnTo>
                      <a:pt x="210" y="174"/>
                    </a:lnTo>
                    <a:lnTo>
                      <a:pt x="214" y="174"/>
                    </a:lnTo>
                    <a:lnTo>
                      <a:pt x="238" y="174"/>
                    </a:lnTo>
                    <a:lnTo>
                      <a:pt x="250" y="178"/>
                    </a:lnTo>
                    <a:lnTo>
                      <a:pt x="266" y="186"/>
                    </a:lnTo>
                    <a:lnTo>
                      <a:pt x="335" y="182"/>
                    </a:lnTo>
                    <a:lnTo>
                      <a:pt x="387" y="174"/>
                    </a:lnTo>
                    <a:lnTo>
                      <a:pt x="392" y="174"/>
                    </a:lnTo>
                    <a:lnTo>
                      <a:pt x="392" y="166"/>
                    </a:lnTo>
                    <a:lnTo>
                      <a:pt x="400" y="166"/>
                    </a:lnTo>
                    <a:lnTo>
                      <a:pt x="408" y="162"/>
                    </a:lnTo>
                    <a:lnTo>
                      <a:pt x="408" y="190"/>
                    </a:lnTo>
                    <a:lnTo>
                      <a:pt x="416" y="206"/>
                    </a:lnTo>
                    <a:lnTo>
                      <a:pt x="432" y="218"/>
                    </a:lnTo>
                    <a:lnTo>
                      <a:pt x="444" y="222"/>
                    </a:lnTo>
                    <a:lnTo>
                      <a:pt x="448" y="230"/>
                    </a:lnTo>
                    <a:lnTo>
                      <a:pt x="456" y="238"/>
                    </a:lnTo>
                    <a:lnTo>
                      <a:pt x="456" y="258"/>
                    </a:lnTo>
                    <a:lnTo>
                      <a:pt x="456" y="275"/>
                    </a:lnTo>
                    <a:lnTo>
                      <a:pt x="472" y="279"/>
                    </a:lnTo>
                    <a:lnTo>
                      <a:pt x="496" y="287"/>
                    </a:lnTo>
                    <a:lnTo>
                      <a:pt x="504" y="295"/>
                    </a:lnTo>
                    <a:lnTo>
                      <a:pt x="508" y="295"/>
                    </a:lnTo>
                    <a:lnTo>
                      <a:pt x="521" y="299"/>
                    </a:lnTo>
                    <a:lnTo>
                      <a:pt x="525" y="307"/>
                    </a:lnTo>
                    <a:lnTo>
                      <a:pt x="533" y="311"/>
                    </a:lnTo>
                    <a:lnTo>
                      <a:pt x="549" y="319"/>
                    </a:lnTo>
                    <a:lnTo>
                      <a:pt x="557" y="319"/>
                    </a:lnTo>
                    <a:lnTo>
                      <a:pt x="565" y="319"/>
                    </a:lnTo>
                    <a:lnTo>
                      <a:pt x="569" y="315"/>
                    </a:lnTo>
                    <a:lnTo>
                      <a:pt x="581" y="311"/>
                    </a:lnTo>
                    <a:lnTo>
                      <a:pt x="589" y="279"/>
                    </a:lnTo>
                    <a:lnTo>
                      <a:pt x="601" y="246"/>
                    </a:lnTo>
                    <a:lnTo>
                      <a:pt x="609" y="242"/>
                    </a:lnTo>
                    <a:lnTo>
                      <a:pt x="617" y="242"/>
                    </a:lnTo>
                    <a:lnTo>
                      <a:pt x="630" y="234"/>
                    </a:lnTo>
                    <a:lnTo>
                      <a:pt x="638" y="230"/>
                    </a:lnTo>
                    <a:lnTo>
                      <a:pt x="650" y="234"/>
                    </a:lnTo>
                    <a:lnTo>
                      <a:pt x="666" y="234"/>
                    </a:lnTo>
                    <a:lnTo>
                      <a:pt x="666" y="246"/>
                    </a:lnTo>
                    <a:lnTo>
                      <a:pt x="666" y="258"/>
                    </a:lnTo>
                    <a:lnTo>
                      <a:pt x="662" y="267"/>
                    </a:lnTo>
                    <a:lnTo>
                      <a:pt x="662" y="279"/>
                    </a:lnTo>
                    <a:lnTo>
                      <a:pt x="662" y="295"/>
                    </a:lnTo>
                    <a:lnTo>
                      <a:pt x="666" y="299"/>
                    </a:lnTo>
                    <a:lnTo>
                      <a:pt x="682" y="311"/>
                    </a:lnTo>
                    <a:lnTo>
                      <a:pt x="694" y="307"/>
                    </a:lnTo>
                    <a:lnTo>
                      <a:pt x="718" y="307"/>
                    </a:lnTo>
                    <a:lnTo>
                      <a:pt x="751" y="295"/>
                    </a:lnTo>
                    <a:lnTo>
                      <a:pt x="795" y="287"/>
                    </a:lnTo>
                    <a:lnTo>
                      <a:pt x="799" y="287"/>
                    </a:lnTo>
                    <a:lnTo>
                      <a:pt x="807" y="283"/>
                    </a:lnTo>
                    <a:lnTo>
                      <a:pt x="815" y="283"/>
                    </a:lnTo>
                    <a:lnTo>
                      <a:pt x="831" y="283"/>
                    </a:lnTo>
                    <a:lnTo>
                      <a:pt x="839" y="287"/>
                    </a:lnTo>
                    <a:lnTo>
                      <a:pt x="843" y="287"/>
                    </a:lnTo>
                    <a:lnTo>
                      <a:pt x="855" y="299"/>
                    </a:lnTo>
                    <a:lnTo>
                      <a:pt x="859" y="319"/>
                    </a:lnTo>
                    <a:lnTo>
                      <a:pt x="876" y="319"/>
                    </a:lnTo>
                    <a:lnTo>
                      <a:pt x="896" y="319"/>
                    </a:lnTo>
                    <a:lnTo>
                      <a:pt x="908" y="307"/>
                    </a:lnTo>
                    <a:lnTo>
                      <a:pt x="920" y="295"/>
                    </a:lnTo>
                    <a:lnTo>
                      <a:pt x="936" y="295"/>
                    </a:lnTo>
                    <a:lnTo>
                      <a:pt x="948" y="287"/>
                    </a:lnTo>
                    <a:lnTo>
                      <a:pt x="956" y="275"/>
                    </a:lnTo>
                    <a:lnTo>
                      <a:pt x="964" y="267"/>
                    </a:lnTo>
                    <a:lnTo>
                      <a:pt x="980" y="258"/>
                    </a:lnTo>
                    <a:lnTo>
                      <a:pt x="993" y="250"/>
                    </a:lnTo>
                    <a:lnTo>
                      <a:pt x="1001" y="246"/>
                    </a:lnTo>
                    <a:lnTo>
                      <a:pt x="1009" y="242"/>
                    </a:lnTo>
                    <a:lnTo>
                      <a:pt x="1009" y="230"/>
                    </a:lnTo>
                    <a:lnTo>
                      <a:pt x="1013" y="222"/>
                    </a:lnTo>
                    <a:lnTo>
                      <a:pt x="1029" y="210"/>
                    </a:lnTo>
                    <a:lnTo>
                      <a:pt x="1037" y="202"/>
                    </a:lnTo>
                    <a:lnTo>
                      <a:pt x="1057" y="198"/>
                    </a:lnTo>
                    <a:lnTo>
                      <a:pt x="1069" y="198"/>
                    </a:lnTo>
                    <a:lnTo>
                      <a:pt x="1077" y="198"/>
                    </a:lnTo>
                    <a:lnTo>
                      <a:pt x="1081" y="202"/>
                    </a:lnTo>
                    <a:lnTo>
                      <a:pt x="1089" y="222"/>
                    </a:lnTo>
                    <a:lnTo>
                      <a:pt x="1093" y="226"/>
                    </a:lnTo>
                    <a:lnTo>
                      <a:pt x="1093" y="238"/>
                    </a:lnTo>
                    <a:lnTo>
                      <a:pt x="1093" y="250"/>
                    </a:lnTo>
                    <a:lnTo>
                      <a:pt x="1110" y="258"/>
                    </a:lnTo>
                    <a:lnTo>
                      <a:pt x="1134" y="271"/>
                    </a:lnTo>
                    <a:lnTo>
                      <a:pt x="1158" y="275"/>
                    </a:lnTo>
                    <a:lnTo>
                      <a:pt x="1194" y="283"/>
                    </a:lnTo>
                    <a:lnTo>
                      <a:pt x="1198" y="287"/>
                    </a:lnTo>
                    <a:lnTo>
                      <a:pt x="1206" y="287"/>
                    </a:lnTo>
                    <a:lnTo>
                      <a:pt x="1219" y="287"/>
                    </a:lnTo>
                    <a:lnTo>
                      <a:pt x="1227" y="287"/>
                    </a:lnTo>
                    <a:lnTo>
                      <a:pt x="1231" y="287"/>
                    </a:lnTo>
                    <a:lnTo>
                      <a:pt x="1255" y="283"/>
                    </a:lnTo>
                    <a:lnTo>
                      <a:pt x="1255" y="275"/>
                    </a:lnTo>
                    <a:lnTo>
                      <a:pt x="1259" y="267"/>
                    </a:lnTo>
                    <a:lnTo>
                      <a:pt x="1283" y="246"/>
                    </a:lnTo>
                    <a:lnTo>
                      <a:pt x="1307" y="234"/>
                    </a:lnTo>
                    <a:lnTo>
                      <a:pt x="1323" y="226"/>
                    </a:lnTo>
                    <a:lnTo>
                      <a:pt x="1335" y="222"/>
                    </a:lnTo>
                    <a:lnTo>
                      <a:pt x="1344" y="210"/>
                    </a:lnTo>
                    <a:lnTo>
                      <a:pt x="1360" y="202"/>
                    </a:lnTo>
                    <a:lnTo>
                      <a:pt x="1368" y="190"/>
                    </a:lnTo>
                    <a:lnTo>
                      <a:pt x="1380" y="178"/>
                    </a:lnTo>
                    <a:lnTo>
                      <a:pt x="1416" y="174"/>
                    </a:lnTo>
                    <a:lnTo>
                      <a:pt x="1448" y="174"/>
                    </a:lnTo>
                    <a:lnTo>
                      <a:pt x="1461" y="178"/>
                    </a:lnTo>
                    <a:lnTo>
                      <a:pt x="1481" y="186"/>
                    </a:lnTo>
                    <a:lnTo>
                      <a:pt x="1493" y="190"/>
                    </a:lnTo>
                    <a:lnTo>
                      <a:pt x="1509" y="194"/>
                    </a:lnTo>
                    <a:lnTo>
                      <a:pt x="1533" y="206"/>
                    </a:lnTo>
                    <a:lnTo>
                      <a:pt x="1557" y="222"/>
                    </a:lnTo>
                    <a:lnTo>
                      <a:pt x="1557" y="230"/>
                    </a:lnTo>
                    <a:lnTo>
                      <a:pt x="1561" y="234"/>
                    </a:lnTo>
                    <a:lnTo>
                      <a:pt x="1582" y="234"/>
                    </a:lnTo>
                    <a:lnTo>
                      <a:pt x="1598" y="238"/>
                    </a:lnTo>
                    <a:lnTo>
                      <a:pt x="1642" y="238"/>
                    </a:lnTo>
                    <a:lnTo>
                      <a:pt x="1678" y="238"/>
                    </a:lnTo>
                    <a:lnTo>
                      <a:pt x="1690" y="242"/>
                    </a:lnTo>
                    <a:lnTo>
                      <a:pt x="1695" y="242"/>
                    </a:lnTo>
                    <a:lnTo>
                      <a:pt x="1711" y="258"/>
                    </a:lnTo>
                    <a:lnTo>
                      <a:pt x="1723" y="267"/>
                    </a:lnTo>
                    <a:lnTo>
                      <a:pt x="1723" y="271"/>
                    </a:lnTo>
                    <a:lnTo>
                      <a:pt x="1727" y="279"/>
                    </a:lnTo>
                    <a:lnTo>
                      <a:pt x="1739" y="295"/>
                    </a:lnTo>
                    <a:lnTo>
                      <a:pt x="1751" y="307"/>
                    </a:lnTo>
                    <a:lnTo>
                      <a:pt x="1763" y="311"/>
                    </a:lnTo>
                    <a:lnTo>
                      <a:pt x="1783" y="319"/>
                    </a:lnTo>
                    <a:lnTo>
                      <a:pt x="1783" y="323"/>
                    </a:lnTo>
                    <a:lnTo>
                      <a:pt x="1787" y="331"/>
                    </a:lnTo>
                    <a:lnTo>
                      <a:pt x="1791" y="335"/>
                    </a:lnTo>
                    <a:lnTo>
                      <a:pt x="1803" y="335"/>
                    </a:lnTo>
                    <a:lnTo>
                      <a:pt x="1812" y="351"/>
                    </a:lnTo>
                    <a:lnTo>
                      <a:pt x="1820" y="359"/>
                    </a:lnTo>
                    <a:lnTo>
                      <a:pt x="1836" y="371"/>
                    </a:lnTo>
                    <a:lnTo>
                      <a:pt x="1852" y="384"/>
                    </a:lnTo>
                    <a:lnTo>
                      <a:pt x="1868" y="400"/>
                    </a:lnTo>
                    <a:lnTo>
                      <a:pt x="1884" y="412"/>
                    </a:lnTo>
                    <a:lnTo>
                      <a:pt x="1888" y="412"/>
                    </a:lnTo>
                    <a:lnTo>
                      <a:pt x="1892" y="420"/>
                    </a:lnTo>
                    <a:lnTo>
                      <a:pt x="1904" y="436"/>
                    </a:lnTo>
                    <a:lnTo>
                      <a:pt x="1920" y="456"/>
                    </a:lnTo>
                    <a:lnTo>
                      <a:pt x="1933" y="464"/>
                    </a:lnTo>
                    <a:lnTo>
                      <a:pt x="1949" y="476"/>
                    </a:lnTo>
                    <a:lnTo>
                      <a:pt x="1949" y="484"/>
                    </a:lnTo>
                    <a:lnTo>
                      <a:pt x="1949" y="492"/>
                    </a:lnTo>
                    <a:lnTo>
                      <a:pt x="1945" y="505"/>
                    </a:lnTo>
                    <a:lnTo>
                      <a:pt x="1937" y="521"/>
                    </a:lnTo>
                    <a:lnTo>
                      <a:pt x="1933" y="529"/>
                    </a:lnTo>
                    <a:lnTo>
                      <a:pt x="1924" y="541"/>
                    </a:lnTo>
                    <a:lnTo>
                      <a:pt x="1892" y="565"/>
                    </a:lnTo>
                    <a:lnTo>
                      <a:pt x="1856" y="593"/>
                    </a:lnTo>
                    <a:lnTo>
                      <a:pt x="1852" y="630"/>
                    </a:lnTo>
                    <a:lnTo>
                      <a:pt x="1852" y="682"/>
                    </a:lnTo>
                    <a:lnTo>
                      <a:pt x="1852" y="686"/>
                    </a:lnTo>
                    <a:lnTo>
                      <a:pt x="1852" y="690"/>
                    </a:lnTo>
                    <a:lnTo>
                      <a:pt x="1864" y="698"/>
                    </a:lnTo>
                    <a:lnTo>
                      <a:pt x="1872" y="706"/>
                    </a:lnTo>
                    <a:lnTo>
                      <a:pt x="1892" y="710"/>
                    </a:lnTo>
                    <a:lnTo>
                      <a:pt x="1900" y="718"/>
                    </a:lnTo>
                    <a:lnTo>
                      <a:pt x="1904" y="722"/>
                    </a:lnTo>
                    <a:lnTo>
                      <a:pt x="1904" y="726"/>
                    </a:lnTo>
                    <a:lnTo>
                      <a:pt x="1904" y="731"/>
                    </a:lnTo>
                    <a:lnTo>
                      <a:pt x="1900" y="735"/>
                    </a:lnTo>
                    <a:lnTo>
                      <a:pt x="1892" y="763"/>
                    </a:lnTo>
                    <a:lnTo>
                      <a:pt x="1888" y="787"/>
                    </a:lnTo>
                    <a:lnTo>
                      <a:pt x="1872" y="795"/>
                    </a:lnTo>
                    <a:lnTo>
                      <a:pt x="1852" y="807"/>
                    </a:lnTo>
                    <a:lnTo>
                      <a:pt x="1852" y="831"/>
                    </a:lnTo>
                    <a:lnTo>
                      <a:pt x="1844" y="856"/>
                    </a:lnTo>
                    <a:lnTo>
                      <a:pt x="1836" y="872"/>
                    </a:lnTo>
                    <a:lnTo>
                      <a:pt x="1828" y="880"/>
                    </a:lnTo>
                    <a:lnTo>
                      <a:pt x="1820" y="880"/>
                    </a:lnTo>
                    <a:lnTo>
                      <a:pt x="1812" y="880"/>
                    </a:lnTo>
                    <a:lnTo>
                      <a:pt x="1791" y="852"/>
                    </a:lnTo>
                    <a:lnTo>
                      <a:pt x="1779" y="831"/>
                    </a:lnTo>
                    <a:lnTo>
                      <a:pt x="1775" y="831"/>
                    </a:lnTo>
                    <a:lnTo>
                      <a:pt x="1771" y="831"/>
                    </a:lnTo>
                    <a:lnTo>
                      <a:pt x="1739" y="839"/>
                    </a:lnTo>
                    <a:lnTo>
                      <a:pt x="1690" y="856"/>
                    </a:lnTo>
                    <a:lnTo>
                      <a:pt x="1678" y="856"/>
                    </a:lnTo>
                    <a:lnTo>
                      <a:pt x="1670" y="860"/>
                    </a:lnTo>
                    <a:lnTo>
                      <a:pt x="1662" y="872"/>
                    </a:lnTo>
                    <a:lnTo>
                      <a:pt x="1658" y="880"/>
                    </a:lnTo>
                    <a:lnTo>
                      <a:pt x="1658" y="900"/>
                    </a:lnTo>
                    <a:lnTo>
                      <a:pt x="1658" y="920"/>
                    </a:lnTo>
                    <a:lnTo>
                      <a:pt x="1654" y="924"/>
                    </a:lnTo>
                    <a:lnTo>
                      <a:pt x="1650" y="928"/>
                    </a:lnTo>
                    <a:lnTo>
                      <a:pt x="1642" y="928"/>
                    </a:lnTo>
                    <a:lnTo>
                      <a:pt x="1626" y="932"/>
                    </a:lnTo>
                    <a:lnTo>
                      <a:pt x="1610" y="944"/>
                    </a:lnTo>
                    <a:lnTo>
                      <a:pt x="1594" y="956"/>
                    </a:lnTo>
                    <a:lnTo>
                      <a:pt x="1586" y="956"/>
                    </a:lnTo>
                    <a:lnTo>
                      <a:pt x="1574" y="956"/>
                    </a:lnTo>
                    <a:lnTo>
                      <a:pt x="1565" y="965"/>
                    </a:lnTo>
                    <a:lnTo>
                      <a:pt x="1565" y="969"/>
                    </a:lnTo>
                    <a:lnTo>
                      <a:pt x="1561" y="977"/>
                    </a:lnTo>
                    <a:lnTo>
                      <a:pt x="1557" y="993"/>
                    </a:lnTo>
                    <a:lnTo>
                      <a:pt x="1545" y="1001"/>
                    </a:lnTo>
                    <a:lnTo>
                      <a:pt x="1537" y="1009"/>
                    </a:lnTo>
                    <a:lnTo>
                      <a:pt x="1533" y="1017"/>
                    </a:lnTo>
                    <a:lnTo>
                      <a:pt x="1529" y="1033"/>
                    </a:lnTo>
                    <a:lnTo>
                      <a:pt x="1517" y="1033"/>
                    </a:lnTo>
                    <a:lnTo>
                      <a:pt x="1509" y="1033"/>
                    </a:lnTo>
                    <a:lnTo>
                      <a:pt x="1505" y="1033"/>
                    </a:lnTo>
                    <a:lnTo>
                      <a:pt x="1501" y="1029"/>
                    </a:lnTo>
                    <a:lnTo>
                      <a:pt x="1481" y="1025"/>
                    </a:lnTo>
                    <a:lnTo>
                      <a:pt x="1461" y="1025"/>
                    </a:lnTo>
                    <a:lnTo>
                      <a:pt x="1457" y="1005"/>
                    </a:lnTo>
                    <a:lnTo>
                      <a:pt x="1448" y="993"/>
                    </a:lnTo>
                    <a:lnTo>
                      <a:pt x="1428" y="993"/>
                    </a:lnTo>
                    <a:lnTo>
                      <a:pt x="1416" y="989"/>
                    </a:lnTo>
                    <a:lnTo>
                      <a:pt x="1404" y="981"/>
                    </a:lnTo>
                    <a:lnTo>
                      <a:pt x="1392" y="977"/>
                    </a:lnTo>
                    <a:lnTo>
                      <a:pt x="1388" y="969"/>
                    </a:lnTo>
                    <a:lnTo>
                      <a:pt x="1384" y="969"/>
                    </a:lnTo>
                    <a:lnTo>
                      <a:pt x="1364" y="969"/>
                    </a:lnTo>
                    <a:lnTo>
                      <a:pt x="1344" y="969"/>
                    </a:lnTo>
                    <a:lnTo>
                      <a:pt x="1331" y="977"/>
                    </a:lnTo>
                    <a:lnTo>
                      <a:pt x="1315" y="993"/>
                    </a:lnTo>
                    <a:lnTo>
                      <a:pt x="1315" y="1001"/>
                    </a:lnTo>
                    <a:lnTo>
                      <a:pt x="1311" y="1009"/>
                    </a:lnTo>
                    <a:lnTo>
                      <a:pt x="1307" y="1017"/>
                    </a:lnTo>
                    <a:lnTo>
                      <a:pt x="1307" y="1025"/>
                    </a:lnTo>
                    <a:lnTo>
                      <a:pt x="1307" y="1033"/>
                    </a:lnTo>
                    <a:lnTo>
                      <a:pt x="1303" y="1037"/>
                    </a:lnTo>
                    <a:lnTo>
                      <a:pt x="1291" y="1041"/>
                    </a:lnTo>
                    <a:lnTo>
                      <a:pt x="1279" y="1041"/>
                    </a:lnTo>
                    <a:lnTo>
                      <a:pt x="1259" y="1045"/>
                    </a:lnTo>
                    <a:lnTo>
                      <a:pt x="1247" y="1053"/>
                    </a:lnTo>
                    <a:lnTo>
                      <a:pt x="1231" y="1065"/>
                    </a:lnTo>
                    <a:lnTo>
                      <a:pt x="1219" y="1082"/>
                    </a:lnTo>
                    <a:lnTo>
                      <a:pt x="1206" y="1094"/>
                    </a:lnTo>
                    <a:lnTo>
                      <a:pt x="1186" y="1098"/>
                    </a:lnTo>
                    <a:lnTo>
                      <a:pt x="1174" y="109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25" name="Freeform 33"/>
              <p:cNvSpPr>
                <a:spLocks/>
              </p:cNvSpPr>
              <p:nvPr/>
            </p:nvSpPr>
            <p:spPr bwMode="auto">
              <a:xfrm>
                <a:off x="897022" y="4110194"/>
                <a:ext cx="1073151" cy="966349"/>
              </a:xfrm>
              <a:custGeom>
                <a:avLst/>
                <a:gdLst>
                  <a:gd name="T0" fmla="*/ 550930403 w 1194"/>
                  <a:gd name="T1" fmla="*/ 812902283 h 1085"/>
                  <a:gd name="T2" fmla="*/ 416832433 w 1194"/>
                  <a:gd name="T3" fmla="*/ 800734887 h 1085"/>
                  <a:gd name="T4" fmla="*/ 352207079 w 1194"/>
                  <a:gd name="T5" fmla="*/ 778682190 h 1085"/>
                  <a:gd name="T6" fmla="*/ 322317977 w 1194"/>
                  <a:gd name="T7" fmla="*/ 689711865 h 1085"/>
                  <a:gd name="T8" fmla="*/ 260924654 w 1194"/>
                  <a:gd name="T9" fmla="*/ 668419575 h 1085"/>
                  <a:gd name="T10" fmla="*/ 221341198 w 1194"/>
                  <a:gd name="T11" fmla="*/ 686670234 h 1085"/>
                  <a:gd name="T12" fmla="*/ 169641274 w 1194"/>
                  <a:gd name="T13" fmla="*/ 665377944 h 1085"/>
                  <a:gd name="T14" fmla="*/ 78357922 w 1194"/>
                  <a:gd name="T15" fmla="*/ 628877499 h 1085"/>
                  <a:gd name="T16" fmla="*/ 38775406 w 1194"/>
                  <a:gd name="T17" fmla="*/ 576407619 h 1085"/>
                  <a:gd name="T18" fmla="*/ 19387703 w 1194"/>
                  <a:gd name="T19" fmla="*/ 533823040 h 1085"/>
                  <a:gd name="T20" fmla="*/ 9693402 w 1194"/>
                  <a:gd name="T21" fmla="*/ 453977499 h 1085"/>
                  <a:gd name="T22" fmla="*/ 22618836 w 1194"/>
                  <a:gd name="T23" fmla="*/ 386299464 h 1085"/>
                  <a:gd name="T24" fmla="*/ 81589055 w 1194"/>
                  <a:gd name="T25" fmla="*/ 392382726 h 1085"/>
                  <a:gd name="T26" fmla="*/ 176103540 w 1194"/>
                  <a:gd name="T27" fmla="*/ 380216202 h 1085"/>
                  <a:gd name="T28" fmla="*/ 205185533 w 1194"/>
                  <a:gd name="T29" fmla="*/ 407591753 h 1085"/>
                  <a:gd name="T30" fmla="*/ 254461489 w 1194"/>
                  <a:gd name="T31" fmla="*/ 392382726 h 1085"/>
                  <a:gd name="T32" fmla="*/ 283543483 w 1194"/>
                  <a:gd name="T33" fmla="*/ 312537294 h 1085"/>
                  <a:gd name="T34" fmla="*/ 257693521 w 1194"/>
                  <a:gd name="T35" fmla="*/ 232691862 h 1085"/>
                  <a:gd name="T36" fmla="*/ 189028970 w 1194"/>
                  <a:gd name="T37" fmla="*/ 211400390 h 1085"/>
                  <a:gd name="T38" fmla="*/ 182566704 w 1194"/>
                  <a:gd name="T39" fmla="*/ 165013772 h 1085"/>
                  <a:gd name="T40" fmla="*/ 218110065 w 1194"/>
                  <a:gd name="T41" fmla="*/ 146763114 h 1085"/>
                  <a:gd name="T42" fmla="*/ 290005749 w 1194"/>
                  <a:gd name="T43" fmla="*/ 119387562 h 1085"/>
                  <a:gd name="T44" fmla="*/ 302931179 w 1194"/>
                  <a:gd name="T45" fmla="*/ 107221011 h 1085"/>
                  <a:gd name="T46" fmla="*/ 365132510 w 1194"/>
                  <a:gd name="T47" fmla="*/ 82887090 h 1085"/>
                  <a:gd name="T48" fmla="*/ 394213604 w 1194"/>
                  <a:gd name="T49" fmla="*/ 51709486 h 1085"/>
                  <a:gd name="T50" fmla="*/ 352207079 w 1194"/>
                  <a:gd name="T51" fmla="*/ 18250665 h 1085"/>
                  <a:gd name="T52" fmla="*/ 407139035 w 1194"/>
                  <a:gd name="T53" fmla="*/ 6083264 h 1085"/>
                  <a:gd name="T54" fmla="*/ 446721536 w 1194"/>
                  <a:gd name="T55" fmla="*/ 33458827 h 1085"/>
                  <a:gd name="T56" fmla="*/ 501653604 w 1194"/>
                  <a:gd name="T57" fmla="*/ 48667855 h 1085"/>
                  <a:gd name="T58" fmla="*/ 563854934 w 1194"/>
                  <a:gd name="T59" fmla="*/ 33458827 h 1085"/>
                  <a:gd name="T60" fmla="*/ 629288297 w 1194"/>
                  <a:gd name="T61" fmla="*/ 24333927 h 1085"/>
                  <a:gd name="T62" fmla="*/ 693913651 w 1194"/>
                  <a:gd name="T63" fmla="*/ 21292296 h 1085"/>
                  <a:gd name="T64" fmla="*/ 743190450 w 1194"/>
                  <a:gd name="T65" fmla="*/ 79085051 h 1085"/>
                  <a:gd name="T66" fmla="*/ 781964943 w 1194"/>
                  <a:gd name="T67" fmla="*/ 131554959 h 1085"/>
                  <a:gd name="T68" fmla="*/ 804583772 w 1194"/>
                  <a:gd name="T69" fmla="*/ 155888879 h 1085"/>
                  <a:gd name="T70" fmla="*/ 824779476 w 1194"/>
                  <a:gd name="T71" fmla="*/ 214442021 h 1085"/>
                  <a:gd name="T72" fmla="*/ 857092603 w 1194"/>
                  <a:gd name="T73" fmla="*/ 241817628 h 1085"/>
                  <a:gd name="T74" fmla="*/ 840936039 w 1194"/>
                  <a:gd name="T75" fmla="*/ 306454032 h 1085"/>
                  <a:gd name="T76" fmla="*/ 788428108 w 1194"/>
                  <a:gd name="T77" fmla="*/ 352840650 h 1085"/>
                  <a:gd name="T78" fmla="*/ 749652715 w 1194"/>
                  <a:gd name="T79" fmla="*/ 368048805 h 1085"/>
                  <a:gd name="T80" fmla="*/ 723802753 w 1194"/>
                  <a:gd name="T81" fmla="*/ 407591753 h 1085"/>
                  <a:gd name="T82" fmla="*/ 769040412 w 1194"/>
                  <a:gd name="T83" fmla="*/ 463103373 h 1085"/>
                  <a:gd name="T84" fmla="*/ 807814905 w 1194"/>
                  <a:gd name="T85" fmla="*/ 478311529 h 1085"/>
                  <a:gd name="T86" fmla="*/ 831241742 w 1194"/>
                  <a:gd name="T87" fmla="*/ 453977499 h 1085"/>
                  <a:gd name="T88" fmla="*/ 847398305 w 1194"/>
                  <a:gd name="T89" fmla="*/ 425841540 h 1085"/>
                  <a:gd name="T90" fmla="*/ 886173697 w 1194"/>
                  <a:gd name="T91" fmla="*/ 425841540 h 1085"/>
                  <a:gd name="T92" fmla="*/ 922525066 w 1194"/>
                  <a:gd name="T93" fmla="*/ 466145004 h 1085"/>
                  <a:gd name="T94" fmla="*/ 964531816 w 1194"/>
                  <a:gd name="T95" fmla="*/ 481353160 h 1085"/>
                  <a:gd name="T96" fmla="*/ 948375253 w 1194"/>
                  <a:gd name="T97" fmla="*/ 536864671 h 1085"/>
                  <a:gd name="T98" fmla="*/ 876479400 w 1194"/>
                  <a:gd name="T99" fmla="*/ 564240223 h 1085"/>
                  <a:gd name="T100" fmla="*/ 831241742 w 1194"/>
                  <a:gd name="T101" fmla="*/ 594658277 h 1085"/>
                  <a:gd name="T102" fmla="*/ 769040412 w 1194"/>
                  <a:gd name="T103" fmla="*/ 653211420 h 1085"/>
                  <a:gd name="T104" fmla="*/ 720571621 w 1194"/>
                  <a:gd name="T105" fmla="*/ 701878389 h 1085"/>
                  <a:gd name="T106" fmla="*/ 700375917 w 1194"/>
                  <a:gd name="T107" fmla="*/ 745223376 h 1085"/>
                  <a:gd name="T108" fmla="*/ 677757088 w 1194"/>
                  <a:gd name="T109" fmla="*/ 760431531 h 1085"/>
                  <a:gd name="T110" fmla="*/ 661600524 w 1194"/>
                  <a:gd name="T111" fmla="*/ 797693256 h 1085"/>
                  <a:gd name="T112" fmla="*/ 618786890 w 1194"/>
                  <a:gd name="T113" fmla="*/ 815943914 h 108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194"/>
                  <a:gd name="T172" fmla="*/ 0 h 1085"/>
                  <a:gd name="T173" fmla="*/ 1194 w 1194"/>
                  <a:gd name="T174" fmla="*/ 1085 h 108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194" h="1085">
                    <a:moveTo>
                      <a:pt x="722" y="1085"/>
                    </a:moveTo>
                    <a:lnTo>
                      <a:pt x="710" y="1081"/>
                    </a:lnTo>
                    <a:lnTo>
                      <a:pt x="698" y="1077"/>
                    </a:lnTo>
                    <a:lnTo>
                      <a:pt x="686" y="1073"/>
                    </a:lnTo>
                    <a:lnTo>
                      <a:pt x="682" y="1069"/>
                    </a:lnTo>
                    <a:lnTo>
                      <a:pt x="662" y="1065"/>
                    </a:lnTo>
                    <a:lnTo>
                      <a:pt x="649" y="1061"/>
                    </a:lnTo>
                    <a:lnTo>
                      <a:pt x="609" y="1061"/>
                    </a:lnTo>
                    <a:lnTo>
                      <a:pt x="565" y="1057"/>
                    </a:lnTo>
                    <a:lnTo>
                      <a:pt x="516" y="1053"/>
                    </a:lnTo>
                    <a:lnTo>
                      <a:pt x="456" y="1053"/>
                    </a:lnTo>
                    <a:lnTo>
                      <a:pt x="452" y="1049"/>
                    </a:lnTo>
                    <a:lnTo>
                      <a:pt x="436" y="1049"/>
                    </a:lnTo>
                    <a:lnTo>
                      <a:pt x="436" y="1032"/>
                    </a:lnTo>
                    <a:lnTo>
                      <a:pt x="436" y="1024"/>
                    </a:lnTo>
                    <a:lnTo>
                      <a:pt x="424" y="1012"/>
                    </a:lnTo>
                    <a:lnTo>
                      <a:pt x="415" y="992"/>
                    </a:lnTo>
                    <a:lnTo>
                      <a:pt x="415" y="956"/>
                    </a:lnTo>
                    <a:lnTo>
                      <a:pt x="415" y="923"/>
                    </a:lnTo>
                    <a:lnTo>
                      <a:pt x="399" y="907"/>
                    </a:lnTo>
                    <a:lnTo>
                      <a:pt x="387" y="899"/>
                    </a:lnTo>
                    <a:lnTo>
                      <a:pt x="367" y="887"/>
                    </a:lnTo>
                    <a:lnTo>
                      <a:pt x="351" y="887"/>
                    </a:lnTo>
                    <a:lnTo>
                      <a:pt x="339" y="879"/>
                    </a:lnTo>
                    <a:lnTo>
                      <a:pt x="323" y="879"/>
                    </a:lnTo>
                    <a:lnTo>
                      <a:pt x="319" y="887"/>
                    </a:lnTo>
                    <a:lnTo>
                      <a:pt x="315" y="887"/>
                    </a:lnTo>
                    <a:lnTo>
                      <a:pt x="307" y="899"/>
                    </a:lnTo>
                    <a:lnTo>
                      <a:pt x="294" y="903"/>
                    </a:lnTo>
                    <a:lnTo>
                      <a:pt x="274" y="903"/>
                    </a:lnTo>
                    <a:lnTo>
                      <a:pt x="254" y="903"/>
                    </a:lnTo>
                    <a:lnTo>
                      <a:pt x="238" y="891"/>
                    </a:lnTo>
                    <a:lnTo>
                      <a:pt x="222" y="887"/>
                    </a:lnTo>
                    <a:lnTo>
                      <a:pt x="218" y="879"/>
                    </a:lnTo>
                    <a:lnTo>
                      <a:pt x="210" y="875"/>
                    </a:lnTo>
                    <a:lnTo>
                      <a:pt x="186" y="863"/>
                    </a:lnTo>
                    <a:lnTo>
                      <a:pt x="157" y="855"/>
                    </a:lnTo>
                    <a:lnTo>
                      <a:pt x="133" y="847"/>
                    </a:lnTo>
                    <a:lnTo>
                      <a:pt x="105" y="839"/>
                    </a:lnTo>
                    <a:lnTo>
                      <a:pt x="97" y="827"/>
                    </a:lnTo>
                    <a:lnTo>
                      <a:pt x="93" y="819"/>
                    </a:lnTo>
                    <a:lnTo>
                      <a:pt x="77" y="811"/>
                    </a:lnTo>
                    <a:lnTo>
                      <a:pt x="69" y="802"/>
                    </a:lnTo>
                    <a:lnTo>
                      <a:pt x="60" y="782"/>
                    </a:lnTo>
                    <a:lnTo>
                      <a:pt x="48" y="758"/>
                    </a:lnTo>
                    <a:lnTo>
                      <a:pt x="44" y="742"/>
                    </a:lnTo>
                    <a:lnTo>
                      <a:pt x="36" y="730"/>
                    </a:lnTo>
                    <a:lnTo>
                      <a:pt x="28" y="714"/>
                    </a:lnTo>
                    <a:lnTo>
                      <a:pt x="24" y="702"/>
                    </a:lnTo>
                    <a:lnTo>
                      <a:pt x="16" y="698"/>
                    </a:lnTo>
                    <a:lnTo>
                      <a:pt x="16" y="685"/>
                    </a:lnTo>
                    <a:lnTo>
                      <a:pt x="12" y="681"/>
                    </a:lnTo>
                    <a:lnTo>
                      <a:pt x="12" y="637"/>
                    </a:lnTo>
                    <a:lnTo>
                      <a:pt x="12" y="597"/>
                    </a:lnTo>
                    <a:lnTo>
                      <a:pt x="8" y="548"/>
                    </a:lnTo>
                    <a:lnTo>
                      <a:pt x="0" y="504"/>
                    </a:lnTo>
                    <a:lnTo>
                      <a:pt x="12" y="504"/>
                    </a:lnTo>
                    <a:lnTo>
                      <a:pt x="24" y="508"/>
                    </a:lnTo>
                    <a:lnTo>
                      <a:pt x="28" y="508"/>
                    </a:lnTo>
                    <a:lnTo>
                      <a:pt x="40" y="512"/>
                    </a:lnTo>
                    <a:lnTo>
                      <a:pt x="69" y="512"/>
                    </a:lnTo>
                    <a:lnTo>
                      <a:pt x="93" y="512"/>
                    </a:lnTo>
                    <a:lnTo>
                      <a:pt x="97" y="516"/>
                    </a:lnTo>
                    <a:lnTo>
                      <a:pt x="101" y="516"/>
                    </a:lnTo>
                    <a:lnTo>
                      <a:pt x="145" y="516"/>
                    </a:lnTo>
                    <a:lnTo>
                      <a:pt x="182" y="524"/>
                    </a:lnTo>
                    <a:lnTo>
                      <a:pt x="190" y="512"/>
                    </a:lnTo>
                    <a:lnTo>
                      <a:pt x="206" y="500"/>
                    </a:lnTo>
                    <a:lnTo>
                      <a:pt x="218" y="500"/>
                    </a:lnTo>
                    <a:lnTo>
                      <a:pt x="230" y="500"/>
                    </a:lnTo>
                    <a:lnTo>
                      <a:pt x="234" y="508"/>
                    </a:lnTo>
                    <a:lnTo>
                      <a:pt x="242" y="532"/>
                    </a:lnTo>
                    <a:lnTo>
                      <a:pt x="246" y="532"/>
                    </a:lnTo>
                    <a:lnTo>
                      <a:pt x="254" y="536"/>
                    </a:lnTo>
                    <a:lnTo>
                      <a:pt x="270" y="536"/>
                    </a:lnTo>
                    <a:lnTo>
                      <a:pt x="294" y="536"/>
                    </a:lnTo>
                    <a:lnTo>
                      <a:pt x="299" y="532"/>
                    </a:lnTo>
                    <a:lnTo>
                      <a:pt x="307" y="532"/>
                    </a:lnTo>
                    <a:lnTo>
                      <a:pt x="315" y="516"/>
                    </a:lnTo>
                    <a:lnTo>
                      <a:pt x="335" y="476"/>
                    </a:lnTo>
                    <a:lnTo>
                      <a:pt x="335" y="460"/>
                    </a:lnTo>
                    <a:lnTo>
                      <a:pt x="339" y="439"/>
                    </a:lnTo>
                    <a:lnTo>
                      <a:pt x="343" y="427"/>
                    </a:lnTo>
                    <a:lnTo>
                      <a:pt x="351" y="411"/>
                    </a:lnTo>
                    <a:lnTo>
                      <a:pt x="351" y="383"/>
                    </a:lnTo>
                    <a:lnTo>
                      <a:pt x="343" y="330"/>
                    </a:lnTo>
                    <a:lnTo>
                      <a:pt x="335" y="326"/>
                    </a:lnTo>
                    <a:lnTo>
                      <a:pt x="323" y="314"/>
                    </a:lnTo>
                    <a:lnTo>
                      <a:pt x="319" y="306"/>
                    </a:lnTo>
                    <a:lnTo>
                      <a:pt x="311" y="302"/>
                    </a:lnTo>
                    <a:lnTo>
                      <a:pt x="286" y="302"/>
                    </a:lnTo>
                    <a:lnTo>
                      <a:pt x="258" y="302"/>
                    </a:lnTo>
                    <a:lnTo>
                      <a:pt x="238" y="282"/>
                    </a:lnTo>
                    <a:lnTo>
                      <a:pt x="234" y="278"/>
                    </a:lnTo>
                    <a:lnTo>
                      <a:pt x="230" y="274"/>
                    </a:lnTo>
                    <a:lnTo>
                      <a:pt x="222" y="270"/>
                    </a:lnTo>
                    <a:lnTo>
                      <a:pt x="222" y="250"/>
                    </a:lnTo>
                    <a:lnTo>
                      <a:pt x="222" y="221"/>
                    </a:lnTo>
                    <a:lnTo>
                      <a:pt x="226" y="217"/>
                    </a:lnTo>
                    <a:lnTo>
                      <a:pt x="226" y="209"/>
                    </a:lnTo>
                    <a:lnTo>
                      <a:pt x="230" y="205"/>
                    </a:lnTo>
                    <a:lnTo>
                      <a:pt x="238" y="197"/>
                    </a:lnTo>
                    <a:lnTo>
                      <a:pt x="254" y="193"/>
                    </a:lnTo>
                    <a:lnTo>
                      <a:pt x="270" y="193"/>
                    </a:lnTo>
                    <a:lnTo>
                      <a:pt x="294" y="181"/>
                    </a:lnTo>
                    <a:lnTo>
                      <a:pt x="319" y="173"/>
                    </a:lnTo>
                    <a:lnTo>
                      <a:pt x="339" y="169"/>
                    </a:lnTo>
                    <a:lnTo>
                      <a:pt x="351" y="161"/>
                    </a:lnTo>
                    <a:lnTo>
                      <a:pt x="359" y="157"/>
                    </a:lnTo>
                    <a:lnTo>
                      <a:pt x="359" y="145"/>
                    </a:lnTo>
                    <a:lnTo>
                      <a:pt x="363" y="141"/>
                    </a:lnTo>
                    <a:lnTo>
                      <a:pt x="367" y="141"/>
                    </a:lnTo>
                    <a:lnTo>
                      <a:pt x="371" y="145"/>
                    </a:lnTo>
                    <a:lnTo>
                      <a:pt x="375" y="141"/>
                    </a:lnTo>
                    <a:lnTo>
                      <a:pt x="387" y="133"/>
                    </a:lnTo>
                    <a:lnTo>
                      <a:pt x="391" y="129"/>
                    </a:lnTo>
                    <a:lnTo>
                      <a:pt x="403" y="129"/>
                    </a:lnTo>
                    <a:lnTo>
                      <a:pt x="428" y="121"/>
                    </a:lnTo>
                    <a:lnTo>
                      <a:pt x="452" y="109"/>
                    </a:lnTo>
                    <a:lnTo>
                      <a:pt x="464" y="104"/>
                    </a:lnTo>
                    <a:lnTo>
                      <a:pt x="476" y="104"/>
                    </a:lnTo>
                    <a:lnTo>
                      <a:pt x="480" y="96"/>
                    </a:lnTo>
                    <a:lnTo>
                      <a:pt x="488" y="84"/>
                    </a:lnTo>
                    <a:lnTo>
                      <a:pt x="488" y="68"/>
                    </a:lnTo>
                    <a:lnTo>
                      <a:pt x="492" y="52"/>
                    </a:lnTo>
                    <a:lnTo>
                      <a:pt x="480" y="44"/>
                    </a:lnTo>
                    <a:lnTo>
                      <a:pt x="452" y="24"/>
                    </a:lnTo>
                    <a:lnTo>
                      <a:pt x="448" y="24"/>
                    </a:lnTo>
                    <a:lnTo>
                      <a:pt x="436" y="24"/>
                    </a:lnTo>
                    <a:lnTo>
                      <a:pt x="436" y="8"/>
                    </a:lnTo>
                    <a:lnTo>
                      <a:pt x="440" y="0"/>
                    </a:lnTo>
                    <a:lnTo>
                      <a:pt x="464" y="0"/>
                    </a:lnTo>
                    <a:lnTo>
                      <a:pt x="480" y="0"/>
                    </a:lnTo>
                    <a:lnTo>
                      <a:pt x="504" y="8"/>
                    </a:lnTo>
                    <a:lnTo>
                      <a:pt x="520" y="16"/>
                    </a:lnTo>
                    <a:lnTo>
                      <a:pt x="532" y="20"/>
                    </a:lnTo>
                    <a:lnTo>
                      <a:pt x="541" y="28"/>
                    </a:lnTo>
                    <a:lnTo>
                      <a:pt x="545" y="36"/>
                    </a:lnTo>
                    <a:lnTo>
                      <a:pt x="553" y="44"/>
                    </a:lnTo>
                    <a:lnTo>
                      <a:pt x="569" y="60"/>
                    </a:lnTo>
                    <a:lnTo>
                      <a:pt x="581" y="64"/>
                    </a:lnTo>
                    <a:lnTo>
                      <a:pt x="597" y="64"/>
                    </a:lnTo>
                    <a:lnTo>
                      <a:pt x="617" y="64"/>
                    </a:lnTo>
                    <a:lnTo>
                      <a:pt x="621" y="64"/>
                    </a:lnTo>
                    <a:lnTo>
                      <a:pt x="633" y="60"/>
                    </a:lnTo>
                    <a:lnTo>
                      <a:pt x="637" y="56"/>
                    </a:lnTo>
                    <a:lnTo>
                      <a:pt x="666" y="52"/>
                    </a:lnTo>
                    <a:lnTo>
                      <a:pt x="690" y="52"/>
                    </a:lnTo>
                    <a:lnTo>
                      <a:pt x="698" y="44"/>
                    </a:lnTo>
                    <a:lnTo>
                      <a:pt x="702" y="44"/>
                    </a:lnTo>
                    <a:lnTo>
                      <a:pt x="726" y="36"/>
                    </a:lnTo>
                    <a:lnTo>
                      <a:pt x="750" y="32"/>
                    </a:lnTo>
                    <a:lnTo>
                      <a:pt x="754" y="28"/>
                    </a:lnTo>
                    <a:lnTo>
                      <a:pt x="779" y="32"/>
                    </a:lnTo>
                    <a:lnTo>
                      <a:pt x="803" y="32"/>
                    </a:lnTo>
                    <a:lnTo>
                      <a:pt x="811" y="32"/>
                    </a:lnTo>
                    <a:lnTo>
                      <a:pt x="815" y="28"/>
                    </a:lnTo>
                    <a:lnTo>
                      <a:pt x="839" y="28"/>
                    </a:lnTo>
                    <a:lnTo>
                      <a:pt x="859" y="28"/>
                    </a:lnTo>
                    <a:lnTo>
                      <a:pt x="879" y="68"/>
                    </a:lnTo>
                    <a:lnTo>
                      <a:pt x="883" y="84"/>
                    </a:lnTo>
                    <a:lnTo>
                      <a:pt x="896" y="84"/>
                    </a:lnTo>
                    <a:lnTo>
                      <a:pt x="908" y="84"/>
                    </a:lnTo>
                    <a:lnTo>
                      <a:pt x="920" y="104"/>
                    </a:lnTo>
                    <a:lnTo>
                      <a:pt x="936" y="129"/>
                    </a:lnTo>
                    <a:lnTo>
                      <a:pt x="936" y="141"/>
                    </a:lnTo>
                    <a:lnTo>
                      <a:pt x="944" y="157"/>
                    </a:lnTo>
                    <a:lnTo>
                      <a:pt x="952" y="161"/>
                    </a:lnTo>
                    <a:lnTo>
                      <a:pt x="968" y="173"/>
                    </a:lnTo>
                    <a:lnTo>
                      <a:pt x="968" y="181"/>
                    </a:lnTo>
                    <a:lnTo>
                      <a:pt x="972" y="185"/>
                    </a:lnTo>
                    <a:lnTo>
                      <a:pt x="980" y="193"/>
                    </a:lnTo>
                    <a:lnTo>
                      <a:pt x="988" y="197"/>
                    </a:lnTo>
                    <a:lnTo>
                      <a:pt x="996" y="205"/>
                    </a:lnTo>
                    <a:lnTo>
                      <a:pt x="1009" y="205"/>
                    </a:lnTo>
                    <a:lnTo>
                      <a:pt x="1009" y="209"/>
                    </a:lnTo>
                    <a:lnTo>
                      <a:pt x="1009" y="213"/>
                    </a:lnTo>
                    <a:lnTo>
                      <a:pt x="1013" y="262"/>
                    </a:lnTo>
                    <a:lnTo>
                      <a:pt x="1021" y="282"/>
                    </a:lnTo>
                    <a:lnTo>
                      <a:pt x="1033" y="294"/>
                    </a:lnTo>
                    <a:lnTo>
                      <a:pt x="1041" y="302"/>
                    </a:lnTo>
                    <a:lnTo>
                      <a:pt x="1049" y="302"/>
                    </a:lnTo>
                    <a:lnTo>
                      <a:pt x="1057" y="302"/>
                    </a:lnTo>
                    <a:lnTo>
                      <a:pt x="1061" y="318"/>
                    </a:lnTo>
                    <a:lnTo>
                      <a:pt x="1065" y="330"/>
                    </a:lnTo>
                    <a:lnTo>
                      <a:pt x="1065" y="351"/>
                    </a:lnTo>
                    <a:lnTo>
                      <a:pt x="1065" y="363"/>
                    </a:lnTo>
                    <a:lnTo>
                      <a:pt x="1057" y="379"/>
                    </a:lnTo>
                    <a:lnTo>
                      <a:pt x="1041" y="403"/>
                    </a:lnTo>
                    <a:lnTo>
                      <a:pt x="1029" y="415"/>
                    </a:lnTo>
                    <a:lnTo>
                      <a:pt x="1009" y="427"/>
                    </a:lnTo>
                    <a:lnTo>
                      <a:pt x="996" y="451"/>
                    </a:lnTo>
                    <a:lnTo>
                      <a:pt x="988" y="460"/>
                    </a:lnTo>
                    <a:lnTo>
                      <a:pt x="976" y="464"/>
                    </a:lnTo>
                    <a:lnTo>
                      <a:pt x="964" y="464"/>
                    </a:lnTo>
                    <a:lnTo>
                      <a:pt x="952" y="468"/>
                    </a:lnTo>
                    <a:lnTo>
                      <a:pt x="936" y="472"/>
                    </a:lnTo>
                    <a:lnTo>
                      <a:pt x="932" y="476"/>
                    </a:lnTo>
                    <a:lnTo>
                      <a:pt x="928" y="484"/>
                    </a:lnTo>
                    <a:lnTo>
                      <a:pt x="920" y="484"/>
                    </a:lnTo>
                    <a:lnTo>
                      <a:pt x="912" y="484"/>
                    </a:lnTo>
                    <a:lnTo>
                      <a:pt x="908" y="496"/>
                    </a:lnTo>
                    <a:lnTo>
                      <a:pt x="900" y="508"/>
                    </a:lnTo>
                    <a:lnTo>
                      <a:pt x="896" y="536"/>
                    </a:lnTo>
                    <a:lnTo>
                      <a:pt x="896" y="560"/>
                    </a:lnTo>
                    <a:lnTo>
                      <a:pt x="908" y="572"/>
                    </a:lnTo>
                    <a:lnTo>
                      <a:pt x="916" y="585"/>
                    </a:lnTo>
                    <a:lnTo>
                      <a:pt x="932" y="597"/>
                    </a:lnTo>
                    <a:lnTo>
                      <a:pt x="952" y="609"/>
                    </a:lnTo>
                    <a:lnTo>
                      <a:pt x="960" y="613"/>
                    </a:lnTo>
                    <a:lnTo>
                      <a:pt x="964" y="621"/>
                    </a:lnTo>
                    <a:lnTo>
                      <a:pt x="972" y="621"/>
                    </a:lnTo>
                    <a:lnTo>
                      <a:pt x="984" y="629"/>
                    </a:lnTo>
                    <a:lnTo>
                      <a:pt x="1000" y="629"/>
                    </a:lnTo>
                    <a:lnTo>
                      <a:pt x="1021" y="629"/>
                    </a:lnTo>
                    <a:lnTo>
                      <a:pt x="1021" y="625"/>
                    </a:lnTo>
                    <a:lnTo>
                      <a:pt x="1025" y="621"/>
                    </a:lnTo>
                    <a:lnTo>
                      <a:pt x="1025" y="609"/>
                    </a:lnTo>
                    <a:lnTo>
                      <a:pt x="1029" y="597"/>
                    </a:lnTo>
                    <a:lnTo>
                      <a:pt x="1033" y="597"/>
                    </a:lnTo>
                    <a:lnTo>
                      <a:pt x="1037" y="589"/>
                    </a:lnTo>
                    <a:lnTo>
                      <a:pt x="1037" y="577"/>
                    </a:lnTo>
                    <a:lnTo>
                      <a:pt x="1041" y="560"/>
                    </a:lnTo>
                    <a:lnTo>
                      <a:pt x="1049" y="560"/>
                    </a:lnTo>
                    <a:lnTo>
                      <a:pt x="1049" y="552"/>
                    </a:lnTo>
                    <a:lnTo>
                      <a:pt x="1061" y="552"/>
                    </a:lnTo>
                    <a:lnTo>
                      <a:pt x="1073" y="552"/>
                    </a:lnTo>
                    <a:lnTo>
                      <a:pt x="1085" y="560"/>
                    </a:lnTo>
                    <a:lnTo>
                      <a:pt x="1097" y="560"/>
                    </a:lnTo>
                    <a:lnTo>
                      <a:pt x="1101" y="560"/>
                    </a:lnTo>
                    <a:lnTo>
                      <a:pt x="1101" y="568"/>
                    </a:lnTo>
                    <a:lnTo>
                      <a:pt x="1109" y="585"/>
                    </a:lnTo>
                    <a:lnTo>
                      <a:pt x="1109" y="609"/>
                    </a:lnTo>
                    <a:lnTo>
                      <a:pt x="1142" y="613"/>
                    </a:lnTo>
                    <a:lnTo>
                      <a:pt x="1174" y="617"/>
                    </a:lnTo>
                    <a:lnTo>
                      <a:pt x="1174" y="625"/>
                    </a:lnTo>
                    <a:lnTo>
                      <a:pt x="1178" y="629"/>
                    </a:lnTo>
                    <a:lnTo>
                      <a:pt x="1182" y="629"/>
                    </a:lnTo>
                    <a:lnTo>
                      <a:pt x="1194" y="633"/>
                    </a:lnTo>
                    <a:lnTo>
                      <a:pt x="1190" y="653"/>
                    </a:lnTo>
                    <a:lnTo>
                      <a:pt x="1182" y="669"/>
                    </a:lnTo>
                    <a:lnTo>
                      <a:pt x="1182" y="681"/>
                    </a:lnTo>
                    <a:lnTo>
                      <a:pt x="1182" y="694"/>
                    </a:lnTo>
                    <a:lnTo>
                      <a:pt x="1174" y="706"/>
                    </a:lnTo>
                    <a:lnTo>
                      <a:pt x="1166" y="718"/>
                    </a:lnTo>
                    <a:lnTo>
                      <a:pt x="1162" y="718"/>
                    </a:lnTo>
                    <a:lnTo>
                      <a:pt x="1158" y="722"/>
                    </a:lnTo>
                    <a:lnTo>
                      <a:pt x="1097" y="734"/>
                    </a:lnTo>
                    <a:lnTo>
                      <a:pt x="1085" y="742"/>
                    </a:lnTo>
                    <a:lnTo>
                      <a:pt x="1061" y="746"/>
                    </a:lnTo>
                    <a:lnTo>
                      <a:pt x="1041" y="754"/>
                    </a:lnTo>
                    <a:lnTo>
                      <a:pt x="1037" y="754"/>
                    </a:lnTo>
                    <a:lnTo>
                      <a:pt x="1029" y="766"/>
                    </a:lnTo>
                    <a:lnTo>
                      <a:pt x="1029" y="782"/>
                    </a:lnTo>
                    <a:lnTo>
                      <a:pt x="1025" y="802"/>
                    </a:lnTo>
                    <a:lnTo>
                      <a:pt x="1013" y="815"/>
                    </a:lnTo>
                    <a:lnTo>
                      <a:pt x="1000" y="827"/>
                    </a:lnTo>
                    <a:lnTo>
                      <a:pt x="976" y="839"/>
                    </a:lnTo>
                    <a:lnTo>
                      <a:pt x="952" y="859"/>
                    </a:lnTo>
                    <a:lnTo>
                      <a:pt x="936" y="863"/>
                    </a:lnTo>
                    <a:lnTo>
                      <a:pt x="920" y="867"/>
                    </a:lnTo>
                    <a:lnTo>
                      <a:pt x="912" y="891"/>
                    </a:lnTo>
                    <a:lnTo>
                      <a:pt x="896" y="923"/>
                    </a:lnTo>
                    <a:lnTo>
                      <a:pt x="892" y="923"/>
                    </a:lnTo>
                    <a:lnTo>
                      <a:pt x="883" y="940"/>
                    </a:lnTo>
                    <a:lnTo>
                      <a:pt x="883" y="952"/>
                    </a:lnTo>
                    <a:lnTo>
                      <a:pt x="879" y="956"/>
                    </a:lnTo>
                    <a:lnTo>
                      <a:pt x="867" y="972"/>
                    </a:lnTo>
                    <a:lnTo>
                      <a:pt x="867" y="980"/>
                    </a:lnTo>
                    <a:lnTo>
                      <a:pt x="863" y="992"/>
                    </a:lnTo>
                    <a:lnTo>
                      <a:pt x="863" y="1000"/>
                    </a:lnTo>
                    <a:lnTo>
                      <a:pt x="859" y="1000"/>
                    </a:lnTo>
                    <a:lnTo>
                      <a:pt x="847" y="1000"/>
                    </a:lnTo>
                    <a:lnTo>
                      <a:pt x="839" y="1000"/>
                    </a:lnTo>
                    <a:lnTo>
                      <a:pt x="835" y="1008"/>
                    </a:lnTo>
                    <a:lnTo>
                      <a:pt x="831" y="1016"/>
                    </a:lnTo>
                    <a:lnTo>
                      <a:pt x="831" y="1028"/>
                    </a:lnTo>
                    <a:lnTo>
                      <a:pt x="827" y="1049"/>
                    </a:lnTo>
                    <a:lnTo>
                      <a:pt x="819" y="1049"/>
                    </a:lnTo>
                    <a:lnTo>
                      <a:pt x="815" y="1053"/>
                    </a:lnTo>
                    <a:lnTo>
                      <a:pt x="799" y="1057"/>
                    </a:lnTo>
                    <a:lnTo>
                      <a:pt x="779" y="1065"/>
                    </a:lnTo>
                    <a:lnTo>
                      <a:pt x="775" y="1069"/>
                    </a:lnTo>
                    <a:lnTo>
                      <a:pt x="766" y="1073"/>
                    </a:lnTo>
                    <a:lnTo>
                      <a:pt x="750" y="1081"/>
                    </a:lnTo>
                    <a:lnTo>
                      <a:pt x="730" y="1085"/>
                    </a:lnTo>
                    <a:lnTo>
                      <a:pt x="726" y="1085"/>
                    </a:lnTo>
                    <a:lnTo>
                      <a:pt x="722" y="108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 dirty="0"/>
              </a:p>
            </p:txBody>
          </p:sp>
          <p:sp>
            <p:nvSpPr>
              <p:cNvPr id="26" name="Freeform 34"/>
              <p:cNvSpPr>
                <a:spLocks/>
              </p:cNvSpPr>
              <p:nvPr/>
            </p:nvSpPr>
            <p:spPr bwMode="auto">
              <a:xfrm>
                <a:off x="3329073" y="3821719"/>
                <a:ext cx="1085850" cy="1062010"/>
              </a:xfrm>
              <a:custGeom>
                <a:avLst/>
                <a:gdLst>
                  <a:gd name="T0" fmla="*/ 571778092 w 1210"/>
                  <a:gd name="T1" fmla="*/ 863064726 h 1194"/>
                  <a:gd name="T2" fmla="*/ 555671623 w 1210"/>
                  <a:gd name="T3" fmla="*/ 795566672 h 1194"/>
                  <a:gd name="T4" fmla="*/ 509768006 w 1210"/>
                  <a:gd name="T5" fmla="*/ 758404294 h 1194"/>
                  <a:gd name="T6" fmla="*/ 461448485 w 1210"/>
                  <a:gd name="T7" fmla="*/ 712899910 h 1194"/>
                  <a:gd name="T8" fmla="*/ 415545766 w 1210"/>
                  <a:gd name="T9" fmla="*/ 639335418 h 1194"/>
                  <a:gd name="T10" fmla="*/ 431652235 w 1210"/>
                  <a:gd name="T11" fmla="*/ 608998872 h 1194"/>
                  <a:gd name="T12" fmla="*/ 347898235 w 1210"/>
                  <a:gd name="T13" fmla="*/ 602931563 h 1194"/>
                  <a:gd name="T14" fmla="*/ 260118516 w 1210"/>
                  <a:gd name="T15" fmla="*/ 590038422 h 1194"/>
                  <a:gd name="T16" fmla="*/ 217436495 w 1210"/>
                  <a:gd name="T17" fmla="*/ 556668657 h 1194"/>
                  <a:gd name="T18" fmla="*/ 169117087 w 1210"/>
                  <a:gd name="T19" fmla="*/ 547568128 h 1194"/>
                  <a:gd name="T20" fmla="*/ 116771931 w 1210"/>
                  <a:gd name="T21" fmla="*/ 550601347 h 1194"/>
                  <a:gd name="T22" fmla="*/ 71673278 w 1210"/>
                  <a:gd name="T23" fmla="*/ 568803275 h 1194"/>
                  <a:gd name="T24" fmla="*/ 51540178 w 1210"/>
                  <a:gd name="T25" fmla="*/ 529366200 h 1194"/>
                  <a:gd name="T26" fmla="*/ 68452523 w 1210"/>
                  <a:gd name="T27" fmla="*/ 437599672 h 1194"/>
                  <a:gd name="T28" fmla="*/ 38655361 w 1210"/>
                  <a:gd name="T29" fmla="*/ 376168928 h 1194"/>
                  <a:gd name="T30" fmla="*/ 0 w 1210"/>
                  <a:gd name="T31" fmla="*/ 311704094 h 1194"/>
                  <a:gd name="T32" fmla="*/ 12884820 w 1210"/>
                  <a:gd name="T33" fmla="*/ 293502166 h 1194"/>
                  <a:gd name="T34" fmla="*/ 71673278 w 1210"/>
                  <a:gd name="T35" fmla="*/ 257099181 h 1194"/>
                  <a:gd name="T36" fmla="*/ 139320837 w 1210"/>
                  <a:gd name="T37" fmla="*/ 222970839 h 1194"/>
                  <a:gd name="T38" fmla="*/ 194887618 w 1210"/>
                  <a:gd name="T39" fmla="*/ 198701602 h 1194"/>
                  <a:gd name="T40" fmla="*/ 236764673 w 1210"/>
                  <a:gd name="T41" fmla="*/ 116035711 h 1194"/>
                  <a:gd name="T42" fmla="*/ 263340168 w 1210"/>
                  <a:gd name="T43" fmla="*/ 76598609 h 1194"/>
                  <a:gd name="T44" fmla="*/ 343871618 w 1210"/>
                  <a:gd name="T45" fmla="*/ 106935155 h 1194"/>
                  <a:gd name="T46" fmla="*/ 471112659 w 1210"/>
                  <a:gd name="T47" fmla="*/ 94800537 h 1194"/>
                  <a:gd name="T48" fmla="*/ 522652822 w 1210"/>
                  <a:gd name="T49" fmla="*/ 85700008 h 1194"/>
                  <a:gd name="T50" fmla="*/ 565334786 w 1210"/>
                  <a:gd name="T51" fmla="*/ 33369779 h 1194"/>
                  <a:gd name="T52" fmla="*/ 591105317 w 1210"/>
                  <a:gd name="T53" fmla="*/ 0 h 1194"/>
                  <a:gd name="T54" fmla="*/ 643451342 w 1210"/>
                  <a:gd name="T55" fmla="*/ 33369779 h 1194"/>
                  <a:gd name="T56" fmla="*/ 714319628 w 1210"/>
                  <a:gd name="T57" fmla="*/ 57639030 h 1194"/>
                  <a:gd name="T58" fmla="*/ 750559184 w 1210"/>
                  <a:gd name="T59" fmla="*/ 79632699 h 1194"/>
                  <a:gd name="T60" fmla="*/ 792435287 w 1210"/>
                  <a:gd name="T61" fmla="*/ 97834627 h 1194"/>
                  <a:gd name="T62" fmla="*/ 792435287 w 1210"/>
                  <a:gd name="T63" fmla="*/ 125137110 h 1194"/>
                  <a:gd name="T64" fmla="*/ 753779940 w 1210"/>
                  <a:gd name="T65" fmla="*/ 156231308 h 1194"/>
                  <a:gd name="T66" fmla="*/ 704655567 w 1210"/>
                  <a:gd name="T67" fmla="*/ 198701602 h 1194"/>
                  <a:gd name="T68" fmla="*/ 720762036 w 1210"/>
                  <a:gd name="T69" fmla="*/ 266199710 h 1194"/>
                  <a:gd name="T70" fmla="*/ 704655567 w 1210"/>
                  <a:gd name="T71" fmla="*/ 308670875 h 1194"/>
                  <a:gd name="T72" fmla="*/ 750559184 w 1210"/>
                  <a:gd name="T73" fmla="*/ 357967000 h 1194"/>
                  <a:gd name="T74" fmla="*/ 792435287 w 1210"/>
                  <a:gd name="T75" fmla="*/ 400437294 h 1194"/>
                  <a:gd name="T76" fmla="*/ 929340276 w 1210"/>
                  <a:gd name="T77" fmla="*/ 477036856 h 1194"/>
                  <a:gd name="T78" fmla="*/ 948667725 w 1210"/>
                  <a:gd name="T79" fmla="*/ 495237912 h 1194"/>
                  <a:gd name="T80" fmla="*/ 961553439 w 1210"/>
                  <a:gd name="T81" fmla="*/ 523298891 h 1194"/>
                  <a:gd name="T82" fmla="*/ 939004337 w 1210"/>
                  <a:gd name="T83" fmla="*/ 568803275 h 1194"/>
                  <a:gd name="T84" fmla="*/ 912427945 w 1210"/>
                  <a:gd name="T85" fmla="*/ 599898344 h 1194"/>
                  <a:gd name="T86" fmla="*/ 932561032 w 1210"/>
                  <a:gd name="T87" fmla="*/ 663603785 h 1194"/>
                  <a:gd name="T88" fmla="*/ 912427945 w 1210"/>
                  <a:gd name="T89" fmla="*/ 706832601 h 1194"/>
                  <a:gd name="T90" fmla="*/ 886658312 w 1210"/>
                  <a:gd name="T91" fmla="*/ 731101838 h 1194"/>
                  <a:gd name="T92" fmla="*/ 961553439 w 1210"/>
                  <a:gd name="T93" fmla="*/ 749303766 h 1194"/>
                  <a:gd name="T94" fmla="*/ 886658312 w 1210"/>
                  <a:gd name="T95" fmla="*/ 822869128 h 1194"/>
                  <a:gd name="T96" fmla="*/ 734452715 w 1210"/>
                  <a:gd name="T97" fmla="*/ 828936438 h 1194"/>
                  <a:gd name="T98" fmla="*/ 704655567 w 1210"/>
                  <a:gd name="T99" fmla="*/ 856238894 h 1194"/>
                  <a:gd name="T100" fmla="*/ 666000220 w 1210"/>
                  <a:gd name="T101" fmla="*/ 893400401 h 119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210"/>
                  <a:gd name="T154" fmla="*/ 0 h 1194"/>
                  <a:gd name="T155" fmla="*/ 1210 w 1210"/>
                  <a:gd name="T156" fmla="*/ 1194 h 119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210" h="1194">
                    <a:moveTo>
                      <a:pt x="795" y="1194"/>
                    </a:moveTo>
                    <a:lnTo>
                      <a:pt x="770" y="1186"/>
                    </a:lnTo>
                    <a:lnTo>
                      <a:pt x="734" y="1166"/>
                    </a:lnTo>
                    <a:lnTo>
                      <a:pt x="726" y="1150"/>
                    </a:lnTo>
                    <a:lnTo>
                      <a:pt x="710" y="1138"/>
                    </a:lnTo>
                    <a:lnTo>
                      <a:pt x="706" y="1121"/>
                    </a:lnTo>
                    <a:lnTo>
                      <a:pt x="698" y="1097"/>
                    </a:lnTo>
                    <a:lnTo>
                      <a:pt x="698" y="1081"/>
                    </a:lnTo>
                    <a:lnTo>
                      <a:pt x="698" y="1065"/>
                    </a:lnTo>
                    <a:lnTo>
                      <a:pt x="690" y="1049"/>
                    </a:lnTo>
                    <a:lnTo>
                      <a:pt x="674" y="1037"/>
                    </a:lnTo>
                    <a:lnTo>
                      <a:pt x="661" y="1029"/>
                    </a:lnTo>
                    <a:lnTo>
                      <a:pt x="653" y="1025"/>
                    </a:lnTo>
                    <a:lnTo>
                      <a:pt x="645" y="1012"/>
                    </a:lnTo>
                    <a:lnTo>
                      <a:pt x="633" y="1000"/>
                    </a:lnTo>
                    <a:lnTo>
                      <a:pt x="617" y="1000"/>
                    </a:lnTo>
                    <a:lnTo>
                      <a:pt x="593" y="1000"/>
                    </a:lnTo>
                    <a:lnTo>
                      <a:pt x="585" y="988"/>
                    </a:lnTo>
                    <a:lnTo>
                      <a:pt x="573" y="976"/>
                    </a:lnTo>
                    <a:lnTo>
                      <a:pt x="573" y="940"/>
                    </a:lnTo>
                    <a:lnTo>
                      <a:pt x="569" y="895"/>
                    </a:lnTo>
                    <a:lnTo>
                      <a:pt x="549" y="883"/>
                    </a:lnTo>
                    <a:lnTo>
                      <a:pt x="536" y="875"/>
                    </a:lnTo>
                    <a:lnTo>
                      <a:pt x="520" y="847"/>
                    </a:lnTo>
                    <a:lnTo>
                      <a:pt x="516" y="843"/>
                    </a:lnTo>
                    <a:lnTo>
                      <a:pt x="516" y="839"/>
                    </a:lnTo>
                    <a:lnTo>
                      <a:pt x="520" y="831"/>
                    </a:lnTo>
                    <a:lnTo>
                      <a:pt x="524" y="827"/>
                    </a:lnTo>
                    <a:lnTo>
                      <a:pt x="536" y="815"/>
                    </a:lnTo>
                    <a:lnTo>
                      <a:pt x="536" y="803"/>
                    </a:lnTo>
                    <a:lnTo>
                      <a:pt x="524" y="787"/>
                    </a:lnTo>
                    <a:lnTo>
                      <a:pt x="516" y="783"/>
                    </a:lnTo>
                    <a:lnTo>
                      <a:pt x="464" y="783"/>
                    </a:lnTo>
                    <a:lnTo>
                      <a:pt x="452" y="787"/>
                    </a:lnTo>
                    <a:lnTo>
                      <a:pt x="432" y="795"/>
                    </a:lnTo>
                    <a:lnTo>
                      <a:pt x="403" y="791"/>
                    </a:lnTo>
                    <a:lnTo>
                      <a:pt x="371" y="791"/>
                    </a:lnTo>
                    <a:lnTo>
                      <a:pt x="359" y="787"/>
                    </a:lnTo>
                    <a:lnTo>
                      <a:pt x="347" y="783"/>
                    </a:lnTo>
                    <a:lnTo>
                      <a:pt x="323" y="778"/>
                    </a:lnTo>
                    <a:lnTo>
                      <a:pt x="294" y="774"/>
                    </a:lnTo>
                    <a:lnTo>
                      <a:pt x="290" y="774"/>
                    </a:lnTo>
                    <a:lnTo>
                      <a:pt x="286" y="770"/>
                    </a:lnTo>
                    <a:lnTo>
                      <a:pt x="282" y="750"/>
                    </a:lnTo>
                    <a:lnTo>
                      <a:pt x="270" y="734"/>
                    </a:lnTo>
                    <a:lnTo>
                      <a:pt x="262" y="722"/>
                    </a:lnTo>
                    <a:lnTo>
                      <a:pt x="250" y="706"/>
                    </a:lnTo>
                    <a:lnTo>
                      <a:pt x="234" y="706"/>
                    </a:lnTo>
                    <a:lnTo>
                      <a:pt x="218" y="706"/>
                    </a:lnTo>
                    <a:lnTo>
                      <a:pt x="210" y="722"/>
                    </a:lnTo>
                    <a:lnTo>
                      <a:pt x="198" y="734"/>
                    </a:lnTo>
                    <a:lnTo>
                      <a:pt x="185" y="734"/>
                    </a:lnTo>
                    <a:lnTo>
                      <a:pt x="177" y="734"/>
                    </a:lnTo>
                    <a:lnTo>
                      <a:pt x="165" y="726"/>
                    </a:lnTo>
                    <a:lnTo>
                      <a:pt x="145" y="726"/>
                    </a:lnTo>
                    <a:lnTo>
                      <a:pt x="133" y="726"/>
                    </a:lnTo>
                    <a:lnTo>
                      <a:pt x="125" y="726"/>
                    </a:lnTo>
                    <a:lnTo>
                      <a:pt x="109" y="742"/>
                    </a:lnTo>
                    <a:lnTo>
                      <a:pt x="97" y="750"/>
                    </a:lnTo>
                    <a:lnTo>
                      <a:pt x="89" y="750"/>
                    </a:lnTo>
                    <a:lnTo>
                      <a:pt x="72" y="750"/>
                    </a:lnTo>
                    <a:lnTo>
                      <a:pt x="68" y="742"/>
                    </a:lnTo>
                    <a:lnTo>
                      <a:pt x="64" y="734"/>
                    </a:lnTo>
                    <a:lnTo>
                      <a:pt x="64" y="714"/>
                    </a:lnTo>
                    <a:lnTo>
                      <a:pt x="64" y="698"/>
                    </a:lnTo>
                    <a:lnTo>
                      <a:pt x="72" y="678"/>
                    </a:lnTo>
                    <a:lnTo>
                      <a:pt x="85" y="653"/>
                    </a:lnTo>
                    <a:lnTo>
                      <a:pt x="85" y="625"/>
                    </a:lnTo>
                    <a:lnTo>
                      <a:pt x="85" y="593"/>
                    </a:lnTo>
                    <a:lnTo>
                      <a:pt x="85" y="577"/>
                    </a:lnTo>
                    <a:lnTo>
                      <a:pt x="81" y="557"/>
                    </a:lnTo>
                    <a:lnTo>
                      <a:pt x="72" y="553"/>
                    </a:lnTo>
                    <a:lnTo>
                      <a:pt x="68" y="540"/>
                    </a:lnTo>
                    <a:lnTo>
                      <a:pt x="64" y="528"/>
                    </a:lnTo>
                    <a:lnTo>
                      <a:pt x="48" y="496"/>
                    </a:lnTo>
                    <a:lnTo>
                      <a:pt x="20" y="460"/>
                    </a:lnTo>
                    <a:lnTo>
                      <a:pt x="16" y="444"/>
                    </a:lnTo>
                    <a:lnTo>
                      <a:pt x="4" y="419"/>
                    </a:lnTo>
                    <a:lnTo>
                      <a:pt x="0" y="419"/>
                    </a:lnTo>
                    <a:lnTo>
                      <a:pt x="0" y="411"/>
                    </a:lnTo>
                    <a:lnTo>
                      <a:pt x="0" y="395"/>
                    </a:lnTo>
                    <a:lnTo>
                      <a:pt x="4" y="395"/>
                    </a:lnTo>
                    <a:lnTo>
                      <a:pt x="12" y="395"/>
                    </a:lnTo>
                    <a:lnTo>
                      <a:pt x="16" y="387"/>
                    </a:lnTo>
                    <a:lnTo>
                      <a:pt x="20" y="383"/>
                    </a:lnTo>
                    <a:lnTo>
                      <a:pt x="20" y="375"/>
                    </a:lnTo>
                    <a:lnTo>
                      <a:pt x="48" y="359"/>
                    </a:lnTo>
                    <a:lnTo>
                      <a:pt x="64" y="343"/>
                    </a:lnTo>
                    <a:lnTo>
                      <a:pt x="89" y="339"/>
                    </a:lnTo>
                    <a:lnTo>
                      <a:pt x="109" y="331"/>
                    </a:lnTo>
                    <a:lnTo>
                      <a:pt x="125" y="319"/>
                    </a:lnTo>
                    <a:lnTo>
                      <a:pt x="145" y="302"/>
                    </a:lnTo>
                    <a:lnTo>
                      <a:pt x="161" y="298"/>
                    </a:lnTo>
                    <a:lnTo>
                      <a:pt x="173" y="294"/>
                    </a:lnTo>
                    <a:lnTo>
                      <a:pt x="177" y="286"/>
                    </a:lnTo>
                    <a:lnTo>
                      <a:pt x="185" y="278"/>
                    </a:lnTo>
                    <a:lnTo>
                      <a:pt x="206" y="278"/>
                    </a:lnTo>
                    <a:lnTo>
                      <a:pt x="226" y="274"/>
                    </a:lnTo>
                    <a:lnTo>
                      <a:pt x="242" y="262"/>
                    </a:lnTo>
                    <a:lnTo>
                      <a:pt x="254" y="258"/>
                    </a:lnTo>
                    <a:lnTo>
                      <a:pt x="270" y="242"/>
                    </a:lnTo>
                    <a:lnTo>
                      <a:pt x="286" y="226"/>
                    </a:lnTo>
                    <a:lnTo>
                      <a:pt x="290" y="193"/>
                    </a:lnTo>
                    <a:lnTo>
                      <a:pt x="294" y="153"/>
                    </a:lnTo>
                    <a:lnTo>
                      <a:pt x="302" y="141"/>
                    </a:lnTo>
                    <a:lnTo>
                      <a:pt x="311" y="129"/>
                    </a:lnTo>
                    <a:lnTo>
                      <a:pt x="315" y="113"/>
                    </a:lnTo>
                    <a:lnTo>
                      <a:pt x="319" y="101"/>
                    </a:lnTo>
                    <a:lnTo>
                      <a:pt x="327" y="101"/>
                    </a:lnTo>
                    <a:lnTo>
                      <a:pt x="339" y="93"/>
                    </a:lnTo>
                    <a:lnTo>
                      <a:pt x="359" y="113"/>
                    </a:lnTo>
                    <a:lnTo>
                      <a:pt x="371" y="125"/>
                    </a:lnTo>
                    <a:lnTo>
                      <a:pt x="411" y="137"/>
                    </a:lnTo>
                    <a:lnTo>
                      <a:pt x="427" y="141"/>
                    </a:lnTo>
                    <a:lnTo>
                      <a:pt x="472" y="141"/>
                    </a:lnTo>
                    <a:lnTo>
                      <a:pt x="512" y="141"/>
                    </a:lnTo>
                    <a:lnTo>
                      <a:pt x="540" y="133"/>
                    </a:lnTo>
                    <a:lnTo>
                      <a:pt x="561" y="129"/>
                    </a:lnTo>
                    <a:lnTo>
                      <a:pt x="585" y="125"/>
                    </a:lnTo>
                    <a:lnTo>
                      <a:pt x="605" y="117"/>
                    </a:lnTo>
                    <a:lnTo>
                      <a:pt x="613" y="117"/>
                    </a:lnTo>
                    <a:lnTo>
                      <a:pt x="629" y="113"/>
                    </a:lnTo>
                    <a:lnTo>
                      <a:pt x="649" y="113"/>
                    </a:lnTo>
                    <a:lnTo>
                      <a:pt x="661" y="93"/>
                    </a:lnTo>
                    <a:lnTo>
                      <a:pt x="682" y="76"/>
                    </a:lnTo>
                    <a:lnTo>
                      <a:pt x="682" y="72"/>
                    </a:lnTo>
                    <a:lnTo>
                      <a:pt x="690" y="64"/>
                    </a:lnTo>
                    <a:lnTo>
                      <a:pt x="702" y="44"/>
                    </a:lnTo>
                    <a:lnTo>
                      <a:pt x="714" y="28"/>
                    </a:lnTo>
                    <a:lnTo>
                      <a:pt x="718" y="16"/>
                    </a:lnTo>
                    <a:lnTo>
                      <a:pt x="726" y="8"/>
                    </a:lnTo>
                    <a:lnTo>
                      <a:pt x="730" y="4"/>
                    </a:lnTo>
                    <a:lnTo>
                      <a:pt x="734" y="0"/>
                    </a:lnTo>
                    <a:lnTo>
                      <a:pt x="742" y="0"/>
                    </a:lnTo>
                    <a:lnTo>
                      <a:pt x="754" y="0"/>
                    </a:lnTo>
                    <a:lnTo>
                      <a:pt x="766" y="16"/>
                    </a:lnTo>
                    <a:lnTo>
                      <a:pt x="783" y="32"/>
                    </a:lnTo>
                    <a:lnTo>
                      <a:pt x="799" y="44"/>
                    </a:lnTo>
                    <a:lnTo>
                      <a:pt x="819" y="52"/>
                    </a:lnTo>
                    <a:lnTo>
                      <a:pt x="851" y="52"/>
                    </a:lnTo>
                    <a:lnTo>
                      <a:pt x="887" y="52"/>
                    </a:lnTo>
                    <a:lnTo>
                      <a:pt x="887" y="64"/>
                    </a:lnTo>
                    <a:lnTo>
                      <a:pt x="887" y="76"/>
                    </a:lnTo>
                    <a:lnTo>
                      <a:pt x="899" y="85"/>
                    </a:lnTo>
                    <a:lnTo>
                      <a:pt x="912" y="93"/>
                    </a:lnTo>
                    <a:lnTo>
                      <a:pt x="916" y="101"/>
                    </a:lnTo>
                    <a:lnTo>
                      <a:pt x="924" y="101"/>
                    </a:lnTo>
                    <a:lnTo>
                      <a:pt x="932" y="105"/>
                    </a:lnTo>
                    <a:lnTo>
                      <a:pt x="948" y="117"/>
                    </a:lnTo>
                    <a:lnTo>
                      <a:pt x="956" y="117"/>
                    </a:lnTo>
                    <a:lnTo>
                      <a:pt x="968" y="117"/>
                    </a:lnTo>
                    <a:lnTo>
                      <a:pt x="972" y="125"/>
                    </a:lnTo>
                    <a:lnTo>
                      <a:pt x="984" y="129"/>
                    </a:lnTo>
                    <a:lnTo>
                      <a:pt x="984" y="133"/>
                    </a:lnTo>
                    <a:lnTo>
                      <a:pt x="988" y="137"/>
                    </a:lnTo>
                    <a:lnTo>
                      <a:pt x="988" y="149"/>
                    </a:lnTo>
                    <a:lnTo>
                      <a:pt x="988" y="161"/>
                    </a:lnTo>
                    <a:lnTo>
                      <a:pt x="984" y="165"/>
                    </a:lnTo>
                    <a:lnTo>
                      <a:pt x="976" y="169"/>
                    </a:lnTo>
                    <a:lnTo>
                      <a:pt x="968" y="173"/>
                    </a:lnTo>
                    <a:lnTo>
                      <a:pt x="964" y="177"/>
                    </a:lnTo>
                    <a:lnTo>
                      <a:pt x="952" y="189"/>
                    </a:lnTo>
                    <a:lnTo>
                      <a:pt x="936" y="206"/>
                    </a:lnTo>
                    <a:lnTo>
                      <a:pt x="916" y="210"/>
                    </a:lnTo>
                    <a:lnTo>
                      <a:pt x="904" y="218"/>
                    </a:lnTo>
                    <a:lnTo>
                      <a:pt x="887" y="238"/>
                    </a:lnTo>
                    <a:lnTo>
                      <a:pt x="875" y="250"/>
                    </a:lnTo>
                    <a:lnTo>
                      <a:pt x="875" y="262"/>
                    </a:lnTo>
                    <a:lnTo>
                      <a:pt x="875" y="278"/>
                    </a:lnTo>
                    <a:lnTo>
                      <a:pt x="887" y="286"/>
                    </a:lnTo>
                    <a:lnTo>
                      <a:pt x="895" y="294"/>
                    </a:lnTo>
                    <a:lnTo>
                      <a:pt x="895" y="323"/>
                    </a:lnTo>
                    <a:lnTo>
                      <a:pt x="895" y="351"/>
                    </a:lnTo>
                    <a:lnTo>
                      <a:pt x="879" y="367"/>
                    </a:lnTo>
                    <a:lnTo>
                      <a:pt x="871" y="379"/>
                    </a:lnTo>
                    <a:lnTo>
                      <a:pt x="871" y="383"/>
                    </a:lnTo>
                    <a:lnTo>
                      <a:pt x="871" y="387"/>
                    </a:lnTo>
                    <a:lnTo>
                      <a:pt x="875" y="407"/>
                    </a:lnTo>
                    <a:lnTo>
                      <a:pt x="887" y="432"/>
                    </a:lnTo>
                    <a:lnTo>
                      <a:pt x="899" y="448"/>
                    </a:lnTo>
                    <a:lnTo>
                      <a:pt x="916" y="464"/>
                    </a:lnTo>
                    <a:lnTo>
                      <a:pt x="924" y="468"/>
                    </a:lnTo>
                    <a:lnTo>
                      <a:pt x="932" y="472"/>
                    </a:lnTo>
                    <a:lnTo>
                      <a:pt x="940" y="496"/>
                    </a:lnTo>
                    <a:lnTo>
                      <a:pt x="952" y="524"/>
                    </a:lnTo>
                    <a:lnTo>
                      <a:pt x="956" y="528"/>
                    </a:lnTo>
                    <a:lnTo>
                      <a:pt x="964" y="536"/>
                    </a:lnTo>
                    <a:lnTo>
                      <a:pt x="984" y="528"/>
                    </a:lnTo>
                    <a:lnTo>
                      <a:pt x="1049" y="512"/>
                    </a:lnTo>
                    <a:lnTo>
                      <a:pt x="1057" y="512"/>
                    </a:lnTo>
                    <a:lnTo>
                      <a:pt x="1069" y="512"/>
                    </a:lnTo>
                    <a:lnTo>
                      <a:pt x="1097" y="549"/>
                    </a:lnTo>
                    <a:lnTo>
                      <a:pt x="1154" y="629"/>
                    </a:lnTo>
                    <a:lnTo>
                      <a:pt x="1158" y="629"/>
                    </a:lnTo>
                    <a:lnTo>
                      <a:pt x="1162" y="633"/>
                    </a:lnTo>
                    <a:lnTo>
                      <a:pt x="1162" y="637"/>
                    </a:lnTo>
                    <a:lnTo>
                      <a:pt x="1166" y="649"/>
                    </a:lnTo>
                    <a:lnTo>
                      <a:pt x="1178" y="653"/>
                    </a:lnTo>
                    <a:lnTo>
                      <a:pt x="1190" y="666"/>
                    </a:lnTo>
                    <a:lnTo>
                      <a:pt x="1194" y="674"/>
                    </a:lnTo>
                    <a:lnTo>
                      <a:pt x="1198" y="686"/>
                    </a:lnTo>
                    <a:lnTo>
                      <a:pt x="1198" y="690"/>
                    </a:lnTo>
                    <a:lnTo>
                      <a:pt x="1194" y="690"/>
                    </a:lnTo>
                    <a:lnTo>
                      <a:pt x="1198" y="698"/>
                    </a:lnTo>
                    <a:lnTo>
                      <a:pt x="1206" y="706"/>
                    </a:lnTo>
                    <a:lnTo>
                      <a:pt x="1190" y="726"/>
                    </a:lnTo>
                    <a:lnTo>
                      <a:pt x="1170" y="750"/>
                    </a:lnTo>
                    <a:lnTo>
                      <a:pt x="1166" y="750"/>
                    </a:lnTo>
                    <a:lnTo>
                      <a:pt x="1162" y="750"/>
                    </a:lnTo>
                    <a:lnTo>
                      <a:pt x="1146" y="762"/>
                    </a:lnTo>
                    <a:lnTo>
                      <a:pt x="1129" y="783"/>
                    </a:lnTo>
                    <a:lnTo>
                      <a:pt x="1129" y="787"/>
                    </a:lnTo>
                    <a:lnTo>
                      <a:pt x="1133" y="791"/>
                    </a:lnTo>
                    <a:lnTo>
                      <a:pt x="1146" y="815"/>
                    </a:lnTo>
                    <a:lnTo>
                      <a:pt x="1154" y="843"/>
                    </a:lnTo>
                    <a:lnTo>
                      <a:pt x="1158" y="847"/>
                    </a:lnTo>
                    <a:lnTo>
                      <a:pt x="1158" y="859"/>
                    </a:lnTo>
                    <a:lnTo>
                      <a:pt x="1158" y="875"/>
                    </a:lnTo>
                    <a:lnTo>
                      <a:pt x="1154" y="879"/>
                    </a:lnTo>
                    <a:lnTo>
                      <a:pt x="1150" y="891"/>
                    </a:lnTo>
                    <a:lnTo>
                      <a:pt x="1146" y="908"/>
                    </a:lnTo>
                    <a:lnTo>
                      <a:pt x="1142" y="928"/>
                    </a:lnTo>
                    <a:lnTo>
                      <a:pt x="1133" y="932"/>
                    </a:lnTo>
                    <a:lnTo>
                      <a:pt x="1117" y="940"/>
                    </a:lnTo>
                    <a:lnTo>
                      <a:pt x="1113" y="944"/>
                    </a:lnTo>
                    <a:lnTo>
                      <a:pt x="1101" y="956"/>
                    </a:lnTo>
                    <a:lnTo>
                      <a:pt x="1101" y="960"/>
                    </a:lnTo>
                    <a:lnTo>
                      <a:pt x="1101" y="964"/>
                    </a:lnTo>
                    <a:lnTo>
                      <a:pt x="1105" y="976"/>
                    </a:lnTo>
                    <a:lnTo>
                      <a:pt x="1113" y="988"/>
                    </a:lnTo>
                    <a:lnTo>
                      <a:pt x="1146" y="988"/>
                    </a:lnTo>
                    <a:lnTo>
                      <a:pt x="1190" y="984"/>
                    </a:lnTo>
                    <a:lnTo>
                      <a:pt x="1194" y="988"/>
                    </a:lnTo>
                    <a:lnTo>
                      <a:pt x="1198" y="992"/>
                    </a:lnTo>
                    <a:lnTo>
                      <a:pt x="1206" y="1033"/>
                    </a:lnTo>
                    <a:lnTo>
                      <a:pt x="1210" y="1077"/>
                    </a:lnTo>
                    <a:lnTo>
                      <a:pt x="1158" y="1081"/>
                    </a:lnTo>
                    <a:lnTo>
                      <a:pt x="1101" y="1085"/>
                    </a:lnTo>
                    <a:lnTo>
                      <a:pt x="1057" y="1085"/>
                    </a:lnTo>
                    <a:lnTo>
                      <a:pt x="1012" y="1085"/>
                    </a:lnTo>
                    <a:lnTo>
                      <a:pt x="968" y="1085"/>
                    </a:lnTo>
                    <a:lnTo>
                      <a:pt x="924" y="1089"/>
                    </a:lnTo>
                    <a:lnTo>
                      <a:pt x="912" y="1093"/>
                    </a:lnTo>
                    <a:lnTo>
                      <a:pt x="899" y="1101"/>
                    </a:lnTo>
                    <a:lnTo>
                      <a:pt x="899" y="1109"/>
                    </a:lnTo>
                    <a:lnTo>
                      <a:pt x="887" y="1121"/>
                    </a:lnTo>
                    <a:lnTo>
                      <a:pt x="875" y="1129"/>
                    </a:lnTo>
                    <a:lnTo>
                      <a:pt x="875" y="1134"/>
                    </a:lnTo>
                    <a:lnTo>
                      <a:pt x="871" y="1142"/>
                    </a:lnTo>
                    <a:lnTo>
                      <a:pt x="851" y="1158"/>
                    </a:lnTo>
                    <a:lnTo>
                      <a:pt x="831" y="1170"/>
                    </a:lnTo>
                    <a:lnTo>
                      <a:pt x="827" y="1178"/>
                    </a:lnTo>
                    <a:lnTo>
                      <a:pt x="819" y="1186"/>
                    </a:lnTo>
                    <a:lnTo>
                      <a:pt x="811" y="1194"/>
                    </a:lnTo>
                    <a:lnTo>
                      <a:pt x="795" y="1194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27" name="Freeform 35"/>
              <p:cNvSpPr>
                <a:spLocks/>
              </p:cNvSpPr>
              <p:nvPr/>
            </p:nvSpPr>
            <p:spPr bwMode="auto">
              <a:xfrm>
                <a:off x="4762587" y="4000071"/>
                <a:ext cx="896937" cy="844744"/>
              </a:xfrm>
              <a:custGeom>
                <a:avLst/>
                <a:gdLst>
                  <a:gd name="T0" fmla="*/ 2147483647 w 997"/>
                  <a:gd name="T1" fmla="*/ 2147483647 h 948"/>
                  <a:gd name="T2" fmla="*/ 2147483647 w 997"/>
                  <a:gd name="T3" fmla="*/ 2147483647 h 948"/>
                  <a:gd name="T4" fmla="*/ 2147483647 w 997"/>
                  <a:gd name="T5" fmla="*/ 2147483647 h 948"/>
                  <a:gd name="T6" fmla="*/ 2147483647 w 997"/>
                  <a:gd name="T7" fmla="*/ 2147483647 h 948"/>
                  <a:gd name="T8" fmla="*/ 2147483647 w 997"/>
                  <a:gd name="T9" fmla="*/ 2147483647 h 948"/>
                  <a:gd name="T10" fmla="*/ 2147483647 w 997"/>
                  <a:gd name="T11" fmla="*/ 2147483647 h 948"/>
                  <a:gd name="T12" fmla="*/ 2147483647 w 997"/>
                  <a:gd name="T13" fmla="*/ 2147483647 h 948"/>
                  <a:gd name="T14" fmla="*/ 2147483647 w 997"/>
                  <a:gd name="T15" fmla="*/ 2147483647 h 948"/>
                  <a:gd name="T16" fmla="*/ 2147483647 w 997"/>
                  <a:gd name="T17" fmla="*/ 2147483647 h 948"/>
                  <a:gd name="T18" fmla="*/ 2147483647 w 997"/>
                  <a:gd name="T19" fmla="*/ 2147483647 h 948"/>
                  <a:gd name="T20" fmla="*/ 2147483647 w 997"/>
                  <a:gd name="T21" fmla="*/ 2147483647 h 948"/>
                  <a:gd name="T22" fmla="*/ 0 w 997"/>
                  <a:gd name="T23" fmla="*/ 2147483647 h 948"/>
                  <a:gd name="T24" fmla="*/ 2147483647 w 997"/>
                  <a:gd name="T25" fmla="*/ 2147483647 h 948"/>
                  <a:gd name="T26" fmla="*/ 2147483647 w 997"/>
                  <a:gd name="T27" fmla="*/ 2147483647 h 948"/>
                  <a:gd name="T28" fmla="*/ 2147483647 w 997"/>
                  <a:gd name="T29" fmla="*/ 2147483647 h 948"/>
                  <a:gd name="T30" fmla="*/ 2147483647 w 997"/>
                  <a:gd name="T31" fmla="*/ 2147483647 h 948"/>
                  <a:gd name="T32" fmla="*/ 2147483647 w 997"/>
                  <a:gd name="T33" fmla="*/ 2147483647 h 948"/>
                  <a:gd name="T34" fmla="*/ 2147483647 w 997"/>
                  <a:gd name="T35" fmla="*/ 2147483647 h 948"/>
                  <a:gd name="T36" fmla="*/ 2147483647 w 997"/>
                  <a:gd name="T37" fmla="*/ 2147483647 h 948"/>
                  <a:gd name="T38" fmla="*/ 2147483647 w 997"/>
                  <a:gd name="T39" fmla="*/ 2147483647 h 948"/>
                  <a:gd name="T40" fmla="*/ 2147483647 w 997"/>
                  <a:gd name="T41" fmla="*/ 2147483647 h 948"/>
                  <a:gd name="T42" fmla="*/ 2147483647 w 997"/>
                  <a:gd name="T43" fmla="*/ 2147483647 h 948"/>
                  <a:gd name="T44" fmla="*/ 2147483647 w 997"/>
                  <a:gd name="T45" fmla="*/ 2147483647 h 948"/>
                  <a:gd name="T46" fmla="*/ 2147483647 w 997"/>
                  <a:gd name="T47" fmla="*/ 2147483647 h 948"/>
                  <a:gd name="T48" fmla="*/ 2147483647 w 997"/>
                  <a:gd name="T49" fmla="*/ 2147483647 h 948"/>
                  <a:gd name="T50" fmla="*/ 2147483647 w 997"/>
                  <a:gd name="T51" fmla="*/ 2147483647 h 948"/>
                  <a:gd name="T52" fmla="*/ 2147483647 w 997"/>
                  <a:gd name="T53" fmla="*/ 2147483647 h 948"/>
                  <a:gd name="T54" fmla="*/ 2147483647 w 997"/>
                  <a:gd name="T55" fmla="*/ 2147483647 h 948"/>
                  <a:gd name="T56" fmla="*/ 2147483647 w 997"/>
                  <a:gd name="T57" fmla="*/ 0 h 948"/>
                  <a:gd name="T58" fmla="*/ 2147483647 w 997"/>
                  <a:gd name="T59" fmla="*/ 2147483647 h 948"/>
                  <a:gd name="T60" fmla="*/ 2147483647 w 997"/>
                  <a:gd name="T61" fmla="*/ 2147483647 h 948"/>
                  <a:gd name="T62" fmla="*/ 2147483647 w 997"/>
                  <a:gd name="T63" fmla="*/ 2147483647 h 948"/>
                  <a:gd name="T64" fmla="*/ 2147483647 w 997"/>
                  <a:gd name="T65" fmla="*/ 2147483647 h 948"/>
                  <a:gd name="T66" fmla="*/ 2147483647 w 997"/>
                  <a:gd name="T67" fmla="*/ 2147483647 h 948"/>
                  <a:gd name="T68" fmla="*/ 2147483647 w 997"/>
                  <a:gd name="T69" fmla="*/ 2147483647 h 948"/>
                  <a:gd name="T70" fmla="*/ 2147483647 w 997"/>
                  <a:gd name="T71" fmla="*/ 2147483647 h 948"/>
                  <a:gd name="T72" fmla="*/ 2147483647 w 997"/>
                  <a:gd name="T73" fmla="*/ 2147483647 h 948"/>
                  <a:gd name="T74" fmla="*/ 2147483647 w 997"/>
                  <a:gd name="T75" fmla="*/ 2147483647 h 948"/>
                  <a:gd name="T76" fmla="*/ 2147483647 w 997"/>
                  <a:gd name="T77" fmla="*/ 2147483647 h 948"/>
                  <a:gd name="T78" fmla="*/ 2147483647 w 997"/>
                  <a:gd name="T79" fmla="*/ 2147483647 h 948"/>
                  <a:gd name="T80" fmla="*/ 2147483647 w 997"/>
                  <a:gd name="T81" fmla="*/ 2147483647 h 948"/>
                  <a:gd name="T82" fmla="*/ 2147483647 w 997"/>
                  <a:gd name="T83" fmla="*/ 2147483647 h 948"/>
                  <a:gd name="T84" fmla="*/ 2147483647 w 997"/>
                  <a:gd name="T85" fmla="*/ 2147483647 h 948"/>
                  <a:gd name="T86" fmla="*/ 2147483647 w 997"/>
                  <a:gd name="T87" fmla="*/ 2147483647 h 948"/>
                  <a:gd name="T88" fmla="*/ 2147483647 w 997"/>
                  <a:gd name="T89" fmla="*/ 2147483647 h 948"/>
                  <a:gd name="T90" fmla="*/ 2147483647 w 997"/>
                  <a:gd name="T91" fmla="*/ 2147483647 h 948"/>
                  <a:gd name="T92" fmla="*/ 2147483647 w 997"/>
                  <a:gd name="T93" fmla="*/ 2147483647 h 948"/>
                  <a:gd name="T94" fmla="*/ 2147483647 w 997"/>
                  <a:gd name="T95" fmla="*/ 2147483647 h 948"/>
                  <a:gd name="T96" fmla="*/ 2147483647 w 997"/>
                  <a:gd name="T97" fmla="*/ 2147483647 h 948"/>
                  <a:gd name="T98" fmla="*/ 2147483647 w 997"/>
                  <a:gd name="T99" fmla="*/ 2147483647 h 948"/>
                  <a:gd name="T100" fmla="*/ 2147483647 w 997"/>
                  <a:gd name="T101" fmla="*/ 2147483647 h 948"/>
                  <a:gd name="T102" fmla="*/ 2147483647 w 997"/>
                  <a:gd name="T103" fmla="*/ 2147483647 h 948"/>
                  <a:gd name="T104" fmla="*/ 2147483647 w 997"/>
                  <a:gd name="T105" fmla="*/ 2147483647 h 948"/>
                  <a:gd name="T106" fmla="*/ 2147483647 w 997"/>
                  <a:gd name="T107" fmla="*/ 2147483647 h 948"/>
                  <a:gd name="T108" fmla="*/ 2147483647 w 997"/>
                  <a:gd name="T109" fmla="*/ 2147483647 h 948"/>
                  <a:gd name="T110" fmla="*/ 2147483647 w 997"/>
                  <a:gd name="T111" fmla="*/ 2147483647 h 948"/>
                  <a:gd name="T112" fmla="*/ 2147483647 w 997"/>
                  <a:gd name="T113" fmla="*/ 2147483647 h 948"/>
                  <a:gd name="T114" fmla="*/ 2147483647 w 997"/>
                  <a:gd name="T115" fmla="*/ 2147483647 h 948"/>
                  <a:gd name="T116" fmla="*/ 2147483647 w 997"/>
                  <a:gd name="T117" fmla="*/ 2147483647 h 948"/>
                  <a:gd name="T118" fmla="*/ 2147483647 w 997"/>
                  <a:gd name="T119" fmla="*/ 2147483647 h 948"/>
                  <a:gd name="T120" fmla="*/ 2147483647 w 997"/>
                  <a:gd name="T121" fmla="*/ 2147483647 h 94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997"/>
                  <a:gd name="T184" fmla="*/ 0 h 948"/>
                  <a:gd name="T185" fmla="*/ 997 w 997"/>
                  <a:gd name="T186" fmla="*/ 948 h 94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997" h="948">
                    <a:moveTo>
                      <a:pt x="505" y="948"/>
                    </a:moveTo>
                    <a:lnTo>
                      <a:pt x="505" y="923"/>
                    </a:lnTo>
                    <a:lnTo>
                      <a:pt x="501" y="907"/>
                    </a:lnTo>
                    <a:lnTo>
                      <a:pt x="493" y="891"/>
                    </a:lnTo>
                    <a:lnTo>
                      <a:pt x="489" y="879"/>
                    </a:lnTo>
                    <a:lnTo>
                      <a:pt x="464" y="879"/>
                    </a:lnTo>
                    <a:lnTo>
                      <a:pt x="436" y="879"/>
                    </a:lnTo>
                    <a:lnTo>
                      <a:pt x="432" y="883"/>
                    </a:lnTo>
                    <a:lnTo>
                      <a:pt x="420" y="883"/>
                    </a:lnTo>
                    <a:lnTo>
                      <a:pt x="412" y="879"/>
                    </a:lnTo>
                    <a:lnTo>
                      <a:pt x="408" y="875"/>
                    </a:lnTo>
                    <a:lnTo>
                      <a:pt x="400" y="871"/>
                    </a:lnTo>
                    <a:lnTo>
                      <a:pt x="388" y="863"/>
                    </a:lnTo>
                    <a:lnTo>
                      <a:pt x="380" y="863"/>
                    </a:lnTo>
                    <a:lnTo>
                      <a:pt x="376" y="851"/>
                    </a:lnTo>
                    <a:lnTo>
                      <a:pt x="376" y="839"/>
                    </a:lnTo>
                    <a:lnTo>
                      <a:pt x="376" y="823"/>
                    </a:lnTo>
                    <a:lnTo>
                      <a:pt x="368" y="819"/>
                    </a:lnTo>
                    <a:lnTo>
                      <a:pt x="355" y="819"/>
                    </a:lnTo>
                    <a:lnTo>
                      <a:pt x="347" y="806"/>
                    </a:lnTo>
                    <a:lnTo>
                      <a:pt x="335" y="798"/>
                    </a:lnTo>
                    <a:lnTo>
                      <a:pt x="311" y="790"/>
                    </a:lnTo>
                    <a:lnTo>
                      <a:pt x="295" y="778"/>
                    </a:lnTo>
                    <a:lnTo>
                      <a:pt x="291" y="770"/>
                    </a:lnTo>
                    <a:lnTo>
                      <a:pt x="287" y="758"/>
                    </a:lnTo>
                    <a:lnTo>
                      <a:pt x="271" y="750"/>
                    </a:lnTo>
                    <a:lnTo>
                      <a:pt x="263" y="742"/>
                    </a:lnTo>
                    <a:lnTo>
                      <a:pt x="255" y="734"/>
                    </a:lnTo>
                    <a:lnTo>
                      <a:pt x="242" y="718"/>
                    </a:lnTo>
                    <a:lnTo>
                      <a:pt x="226" y="706"/>
                    </a:lnTo>
                    <a:lnTo>
                      <a:pt x="206" y="693"/>
                    </a:lnTo>
                    <a:lnTo>
                      <a:pt x="202" y="681"/>
                    </a:lnTo>
                    <a:lnTo>
                      <a:pt x="194" y="673"/>
                    </a:lnTo>
                    <a:lnTo>
                      <a:pt x="182" y="669"/>
                    </a:lnTo>
                    <a:lnTo>
                      <a:pt x="174" y="665"/>
                    </a:lnTo>
                    <a:lnTo>
                      <a:pt x="154" y="637"/>
                    </a:lnTo>
                    <a:lnTo>
                      <a:pt x="138" y="617"/>
                    </a:lnTo>
                    <a:lnTo>
                      <a:pt x="129" y="605"/>
                    </a:lnTo>
                    <a:lnTo>
                      <a:pt x="129" y="593"/>
                    </a:lnTo>
                    <a:lnTo>
                      <a:pt x="117" y="581"/>
                    </a:lnTo>
                    <a:lnTo>
                      <a:pt x="101" y="560"/>
                    </a:lnTo>
                    <a:lnTo>
                      <a:pt x="85" y="556"/>
                    </a:lnTo>
                    <a:lnTo>
                      <a:pt x="41" y="544"/>
                    </a:lnTo>
                    <a:lnTo>
                      <a:pt x="17" y="532"/>
                    </a:lnTo>
                    <a:lnTo>
                      <a:pt x="0" y="520"/>
                    </a:lnTo>
                    <a:lnTo>
                      <a:pt x="0" y="488"/>
                    </a:lnTo>
                    <a:lnTo>
                      <a:pt x="0" y="459"/>
                    </a:lnTo>
                    <a:lnTo>
                      <a:pt x="0" y="451"/>
                    </a:lnTo>
                    <a:lnTo>
                      <a:pt x="0" y="435"/>
                    </a:lnTo>
                    <a:lnTo>
                      <a:pt x="13" y="427"/>
                    </a:lnTo>
                    <a:lnTo>
                      <a:pt x="25" y="419"/>
                    </a:lnTo>
                    <a:lnTo>
                      <a:pt x="61" y="419"/>
                    </a:lnTo>
                    <a:lnTo>
                      <a:pt x="93" y="419"/>
                    </a:lnTo>
                    <a:lnTo>
                      <a:pt x="105" y="399"/>
                    </a:lnTo>
                    <a:lnTo>
                      <a:pt x="117" y="387"/>
                    </a:lnTo>
                    <a:lnTo>
                      <a:pt x="121" y="363"/>
                    </a:lnTo>
                    <a:lnTo>
                      <a:pt x="125" y="347"/>
                    </a:lnTo>
                    <a:lnTo>
                      <a:pt x="129" y="342"/>
                    </a:lnTo>
                    <a:lnTo>
                      <a:pt x="138" y="334"/>
                    </a:lnTo>
                    <a:lnTo>
                      <a:pt x="166" y="326"/>
                    </a:lnTo>
                    <a:lnTo>
                      <a:pt x="198" y="314"/>
                    </a:lnTo>
                    <a:lnTo>
                      <a:pt x="198" y="310"/>
                    </a:lnTo>
                    <a:lnTo>
                      <a:pt x="202" y="302"/>
                    </a:lnTo>
                    <a:lnTo>
                      <a:pt x="206" y="290"/>
                    </a:lnTo>
                    <a:lnTo>
                      <a:pt x="210" y="278"/>
                    </a:lnTo>
                    <a:lnTo>
                      <a:pt x="210" y="270"/>
                    </a:lnTo>
                    <a:lnTo>
                      <a:pt x="214" y="258"/>
                    </a:lnTo>
                    <a:lnTo>
                      <a:pt x="210" y="234"/>
                    </a:lnTo>
                    <a:lnTo>
                      <a:pt x="198" y="165"/>
                    </a:lnTo>
                    <a:lnTo>
                      <a:pt x="194" y="165"/>
                    </a:lnTo>
                    <a:lnTo>
                      <a:pt x="194" y="149"/>
                    </a:lnTo>
                    <a:lnTo>
                      <a:pt x="198" y="141"/>
                    </a:lnTo>
                    <a:lnTo>
                      <a:pt x="202" y="133"/>
                    </a:lnTo>
                    <a:lnTo>
                      <a:pt x="210" y="125"/>
                    </a:lnTo>
                    <a:lnTo>
                      <a:pt x="218" y="125"/>
                    </a:lnTo>
                    <a:lnTo>
                      <a:pt x="230" y="121"/>
                    </a:lnTo>
                    <a:lnTo>
                      <a:pt x="230" y="117"/>
                    </a:lnTo>
                    <a:lnTo>
                      <a:pt x="234" y="108"/>
                    </a:lnTo>
                    <a:lnTo>
                      <a:pt x="238" y="96"/>
                    </a:lnTo>
                    <a:lnTo>
                      <a:pt x="238" y="84"/>
                    </a:lnTo>
                    <a:lnTo>
                      <a:pt x="246" y="84"/>
                    </a:lnTo>
                    <a:lnTo>
                      <a:pt x="255" y="80"/>
                    </a:lnTo>
                    <a:lnTo>
                      <a:pt x="279" y="80"/>
                    </a:lnTo>
                    <a:lnTo>
                      <a:pt x="307" y="80"/>
                    </a:lnTo>
                    <a:lnTo>
                      <a:pt x="311" y="80"/>
                    </a:lnTo>
                    <a:lnTo>
                      <a:pt x="311" y="84"/>
                    </a:lnTo>
                    <a:lnTo>
                      <a:pt x="327" y="96"/>
                    </a:lnTo>
                    <a:lnTo>
                      <a:pt x="339" y="104"/>
                    </a:lnTo>
                    <a:lnTo>
                      <a:pt x="343" y="108"/>
                    </a:lnTo>
                    <a:lnTo>
                      <a:pt x="343" y="117"/>
                    </a:lnTo>
                    <a:lnTo>
                      <a:pt x="368" y="133"/>
                    </a:lnTo>
                    <a:lnTo>
                      <a:pt x="388" y="149"/>
                    </a:lnTo>
                    <a:lnTo>
                      <a:pt x="400" y="141"/>
                    </a:lnTo>
                    <a:lnTo>
                      <a:pt x="412" y="137"/>
                    </a:lnTo>
                    <a:lnTo>
                      <a:pt x="420" y="129"/>
                    </a:lnTo>
                    <a:lnTo>
                      <a:pt x="424" y="117"/>
                    </a:lnTo>
                    <a:lnTo>
                      <a:pt x="432" y="117"/>
                    </a:lnTo>
                    <a:lnTo>
                      <a:pt x="436" y="117"/>
                    </a:lnTo>
                    <a:lnTo>
                      <a:pt x="440" y="104"/>
                    </a:lnTo>
                    <a:lnTo>
                      <a:pt x="448" y="100"/>
                    </a:lnTo>
                    <a:lnTo>
                      <a:pt x="460" y="92"/>
                    </a:lnTo>
                    <a:lnTo>
                      <a:pt x="472" y="84"/>
                    </a:lnTo>
                    <a:lnTo>
                      <a:pt x="489" y="80"/>
                    </a:lnTo>
                    <a:lnTo>
                      <a:pt x="501" y="76"/>
                    </a:lnTo>
                    <a:lnTo>
                      <a:pt x="505" y="64"/>
                    </a:lnTo>
                    <a:lnTo>
                      <a:pt x="545" y="44"/>
                    </a:lnTo>
                    <a:lnTo>
                      <a:pt x="565" y="40"/>
                    </a:lnTo>
                    <a:lnTo>
                      <a:pt x="589" y="36"/>
                    </a:lnTo>
                    <a:lnTo>
                      <a:pt x="601" y="36"/>
                    </a:lnTo>
                    <a:lnTo>
                      <a:pt x="614" y="36"/>
                    </a:lnTo>
                    <a:lnTo>
                      <a:pt x="626" y="36"/>
                    </a:lnTo>
                    <a:lnTo>
                      <a:pt x="634" y="32"/>
                    </a:lnTo>
                    <a:lnTo>
                      <a:pt x="642" y="16"/>
                    </a:lnTo>
                    <a:lnTo>
                      <a:pt x="646" y="0"/>
                    </a:lnTo>
                    <a:lnTo>
                      <a:pt x="686" y="0"/>
                    </a:lnTo>
                    <a:lnTo>
                      <a:pt x="727" y="0"/>
                    </a:lnTo>
                    <a:lnTo>
                      <a:pt x="759" y="12"/>
                    </a:lnTo>
                    <a:lnTo>
                      <a:pt x="787" y="24"/>
                    </a:lnTo>
                    <a:lnTo>
                      <a:pt x="835" y="32"/>
                    </a:lnTo>
                    <a:lnTo>
                      <a:pt x="864" y="36"/>
                    </a:lnTo>
                    <a:lnTo>
                      <a:pt x="876" y="36"/>
                    </a:lnTo>
                    <a:lnTo>
                      <a:pt x="892" y="36"/>
                    </a:lnTo>
                    <a:lnTo>
                      <a:pt x="920" y="32"/>
                    </a:lnTo>
                    <a:lnTo>
                      <a:pt x="944" y="24"/>
                    </a:lnTo>
                    <a:lnTo>
                      <a:pt x="948" y="24"/>
                    </a:lnTo>
                    <a:lnTo>
                      <a:pt x="956" y="24"/>
                    </a:lnTo>
                    <a:lnTo>
                      <a:pt x="973" y="40"/>
                    </a:lnTo>
                    <a:lnTo>
                      <a:pt x="977" y="48"/>
                    </a:lnTo>
                    <a:lnTo>
                      <a:pt x="981" y="56"/>
                    </a:lnTo>
                    <a:lnTo>
                      <a:pt x="989" y="64"/>
                    </a:lnTo>
                    <a:lnTo>
                      <a:pt x="993" y="72"/>
                    </a:lnTo>
                    <a:lnTo>
                      <a:pt x="993" y="76"/>
                    </a:lnTo>
                    <a:lnTo>
                      <a:pt x="993" y="84"/>
                    </a:lnTo>
                    <a:lnTo>
                      <a:pt x="997" y="125"/>
                    </a:lnTo>
                    <a:lnTo>
                      <a:pt x="997" y="165"/>
                    </a:lnTo>
                    <a:lnTo>
                      <a:pt x="997" y="205"/>
                    </a:lnTo>
                    <a:lnTo>
                      <a:pt x="997" y="246"/>
                    </a:lnTo>
                    <a:lnTo>
                      <a:pt x="997" y="250"/>
                    </a:lnTo>
                    <a:lnTo>
                      <a:pt x="993" y="258"/>
                    </a:lnTo>
                    <a:lnTo>
                      <a:pt x="981" y="258"/>
                    </a:lnTo>
                    <a:lnTo>
                      <a:pt x="973" y="258"/>
                    </a:lnTo>
                    <a:lnTo>
                      <a:pt x="965" y="254"/>
                    </a:lnTo>
                    <a:lnTo>
                      <a:pt x="948" y="250"/>
                    </a:lnTo>
                    <a:lnTo>
                      <a:pt x="944" y="246"/>
                    </a:lnTo>
                    <a:lnTo>
                      <a:pt x="940" y="242"/>
                    </a:lnTo>
                    <a:lnTo>
                      <a:pt x="940" y="234"/>
                    </a:lnTo>
                    <a:lnTo>
                      <a:pt x="936" y="217"/>
                    </a:lnTo>
                    <a:lnTo>
                      <a:pt x="932" y="209"/>
                    </a:lnTo>
                    <a:lnTo>
                      <a:pt x="916" y="185"/>
                    </a:lnTo>
                    <a:lnTo>
                      <a:pt x="912" y="181"/>
                    </a:lnTo>
                    <a:lnTo>
                      <a:pt x="904" y="177"/>
                    </a:lnTo>
                    <a:lnTo>
                      <a:pt x="900" y="177"/>
                    </a:lnTo>
                    <a:lnTo>
                      <a:pt x="888" y="177"/>
                    </a:lnTo>
                    <a:lnTo>
                      <a:pt x="876" y="193"/>
                    </a:lnTo>
                    <a:lnTo>
                      <a:pt x="868" y="197"/>
                    </a:lnTo>
                    <a:lnTo>
                      <a:pt x="864" y="213"/>
                    </a:lnTo>
                    <a:lnTo>
                      <a:pt x="860" y="234"/>
                    </a:lnTo>
                    <a:lnTo>
                      <a:pt x="856" y="242"/>
                    </a:lnTo>
                    <a:lnTo>
                      <a:pt x="852" y="246"/>
                    </a:lnTo>
                    <a:lnTo>
                      <a:pt x="852" y="270"/>
                    </a:lnTo>
                    <a:lnTo>
                      <a:pt x="852" y="302"/>
                    </a:lnTo>
                    <a:lnTo>
                      <a:pt x="856" y="326"/>
                    </a:lnTo>
                    <a:lnTo>
                      <a:pt x="860" y="347"/>
                    </a:lnTo>
                    <a:lnTo>
                      <a:pt x="868" y="363"/>
                    </a:lnTo>
                    <a:lnTo>
                      <a:pt x="876" y="383"/>
                    </a:lnTo>
                    <a:lnTo>
                      <a:pt x="884" y="387"/>
                    </a:lnTo>
                    <a:lnTo>
                      <a:pt x="884" y="399"/>
                    </a:lnTo>
                    <a:lnTo>
                      <a:pt x="884" y="415"/>
                    </a:lnTo>
                    <a:lnTo>
                      <a:pt x="868" y="423"/>
                    </a:lnTo>
                    <a:lnTo>
                      <a:pt x="856" y="435"/>
                    </a:lnTo>
                    <a:lnTo>
                      <a:pt x="852" y="435"/>
                    </a:lnTo>
                    <a:lnTo>
                      <a:pt x="840" y="435"/>
                    </a:lnTo>
                    <a:lnTo>
                      <a:pt x="835" y="427"/>
                    </a:lnTo>
                    <a:lnTo>
                      <a:pt x="831" y="419"/>
                    </a:lnTo>
                    <a:lnTo>
                      <a:pt x="819" y="419"/>
                    </a:lnTo>
                    <a:lnTo>
                      <a:pt x="803" y="423"/>
                    </a:lnTo>
                    <a:lnTo>
                      <a:pt x="799" y="435"/>
                    </a:lnTo>
                    <a:lnTo>
                      <a:pt x="791" y="439"/>
                    </a:lnTo>
                    <a:lnTo>
                      <a:pt x="787" y="451"/>
                    </a:lnTo>
                    <a:lnTo>
                      <a:pt x="783" y="464"/>
                    </a:lnTo>
                    <a:lnTo>
                      <a:pt x="791" y="520"/>
                    </a:lnTo>
                    <a:lnTo>
                      <a:pt x="795" y="556"/>
                    </a:lnTo>
                    <a:lnTo>
                      <a:pt x="799" y="560"/>
                    </a:lnTo>
                    <a:lnTo>
                      <a:pt x="803" y="560"/>
                    </a:lnTo>
                    <a:lnTo>
                      <a:pt x="803" y="576"/>
                    </a:lnTo>
                    <a:lnTo>
                      <a:pt x="807" y="585"/>
                    </a:lnTo>
                    <a:lnTo>
                      <a:pt x="807" y="589"/>
                    </a:lnTo>
                    <a:lnTo>
                      <a:pt x="811" y="593"/>
                    </a:lnTo>
                    <a:lnTo>
                      <a:pt x="819" y="593"/>
                    </a:lnTo>
                    <a:lnTo>
                      <a:pt x="827" y="597"/>
                    </a:lnTo>
                    <a:lnTo>
                      <a:pt x="827" y="601"/>
                    </a:lnTo>
                    <a:lnTo>
                      <a:pt x="831" y="609"/>
                    </a:lnTo>
                    <a:lnTo>
                      <a:pt x="848" y="629"/>
                    </a:lnTo>
                    <a:lnTo>
                      <a:pt x="864" y="653"/>
                    </a:lnTo>
                    <a:lnTo>
                      <a:pt x="872" y="657"/>
                    </a:lnTo>
                    <a:lnTo>
                      <a:pt x="884" y="665"/>
                    </a:lnTo>
                    <a:lnTo>
                      <a:pt x="888" y="673"/>
                    </a:lnTo>
                    <a:lnTo>
                      <a:pt x="892" y="681"/>
                    </a:lnTo>
                    <a:lnTo>
                      <a:pt x="904" y="681"/>
                    </a:lnTo>
                    <a:lnTo>
                      <a:pt x="912" y="689"/>
                    </a:lnTo>
                    <a:lnTo>
                      <a:pt x="916" y="698"/>
                    </a:lnTo>
                    <a:lnTo>
                      <a:pt x="924" y="702"/>
                    </a:lnTo>
                    <a:lnTo>
                      <a:pt x="924" y="706"/>
                    </a:lnTo>
                    <a:lnTo>
                      <a:pt x="920" y="710"/>
                    </a:lnTo>
                    <a:lnTo>
                      <a:pt x="904" y="710"/>
                    </a:lnTo>
                    <a:lnTo>
                      <a:pt x="876" y="710"/>
                    </a:lnTo>
                    <a:lnTo>
                      <a:pt x="872" y="706"/>
                    </a:lnTo>
                    <a:lnTo>
                      <a:pt x="864" y="698"/>
                    </a:lnTo>
                    <a:lnTo>
                      <a:pt x="860" y="698"/>
                    </a:lnTo>
                    <a:lnTo>
                      <a:pt x="856" y="693"/>
                    </a:lnTo>
                    <a:lnTo>
                      <a:pt x="819" y="693"/>
                    </a:lnTo>
                    <a:lnTo>
                      <a:pt x="783" y="693"/>
                    </a:lnTo>
                    <a:lnTo>
                      <a:pt x="759" y="698"/>
                    </a:lnTo>
                    <a:lnTo>
                      <a:pt x="751" y="702"/>
                    </a:lnTo>
                    <a:lnTo>
                      <a:pt x="751" y="730"/>
                    </a:lnTo>
                    <a:lnTo>
                      <a:pt x="747" y="742"/>
                    </a:lnTo>
                    <a:lnTo>
                      <a:pt x="747" y="758"/>
                    </a:lnTo>
                    <a:lnTo>
                      <a:pt x="747" y="778"/>
                    </a:lnTo>
                    <a:lnTo>
                      <a:pt x="751" y="790"/>
                    </a:lnTo>
                    <a:lnTo>
                      <a:pt x="751" y="802"/>
                    </a:lnTo>
                    <a:lnTo>
                      <a:pt x="747" y="806"/>
                    </a:lnTo>
                    <a:lnTo>
                      <a:pt x="743" y="810"/>
                    </a:lnTo>
                    <a:lnTo>
                      <a:pt x="739" y="823"/>
                    </a:lnTo>
                    <a:lnTo>
                      <a:pt x="735" y="831"/>
                    </a:lnTo>
                    <a:lnTo>
                      <a:pt x="727" y="831"/>
                    </a:lnTo>
                    <a:lnTo>
                      <a:pt x="718" y="831"/>
                    </a:lnTo>
                    <a:lnTo>
                      <a:pt x="714" y="823"/>
                    </a:lnTo>
                    <a:lnTo>
                      <a:pt x="706" y="806"/>
                    </a:lnTo>
                    <a:lnTo>
                      <a:pt x="690" y="806"/>
                    </a:lnTo>
                    <a:lnTo>
                      <a:pt x="678" y="806"/>
                    </a:lnTo>
                    <a:lnTo>
                      <a:pt x="670" y="806"/>
                    </a:lnTo>
                    <a:lnTo>
                      <a:pt x="662" y="806"/>
                    </a:lnTo>
                    <a:lnTo>
                      <a:pt x="654" y="806"/>
                    </a:lnTo>
                    <a:lnTo>
                      <a:pt x="634" y="819"/>
                    </a:lnTo>
                    <a:lnTo>
                      <a:pt x="610" y="827"/>
                    </a:lnTo>
                    <a:lnTo>
                      <a:pt x="601" y="843"/>
                    </a:lnTo>
                    <a:lnTo>
                      <a:pt x="593" y="851"/>
                    </a:lnTo>
                    <a:lnTo>
                      <a:pt x="593" y="883"/>
                    </a:lnTo>
                    <a:lnTo>
                      <a:pt x="589" y="911"/>
                    </a:lnTo>
                    <a:lnTo>
                      <a:pt x="581" y="915"/>
                    </a:lnTo>
                    <a:lnTo>
                      <a:pt x="573" y="919"/>
                    </a:lnTo>
                    <a:lnTo>
                      <a:pt x="573" y="927"/>
                    </a:lnTo>
                    <a:lnTo>
                      <a:pt x="569" y="940"/>
                    </a:lnTo>
                    <a:lnTo>
                      <a:pt x="557" y="940"/>
                    </a:lnTo>
                    <a:lnTo>
                      <a:pt x="553" y="940"/>
                    </a:lnTo>
                    <a:lnTo>
                      <a:pt x="529" y="948"/>
                    </a:lnTo>
                    <a:lnTo>
                      <a:pt x="505" y="94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28" name="Freeform 36"/>
              <p:cNvSpPr>
                <a:spLocks/>
              </p:cNvSpPr>
              <p:nvPr/>
            </p:nvSpPr>
            <p:spPr bwMode="auto">
              <a:xfrm>
                <a:off x="6724739" y="3453662"/>
                <a:ext cx="673100" cy="1074983"/>
              </a:xfrm>
              <a:custGeom>
                <a:avLst/>
                <a:gdLst>
                  <a:gd name="T0" fmla="*/ 383392363 w 750"/>
                  <a:gd name="T1" fmla="*/ 901830837 h 1207"/>
                  <a:gd name="T2" fmla="*/ 360839930 w 750"/>
                  <a:gd name="T3" fmla="*/ 880539911 h 1207"/>
                  <a:gd name="T4" fmla="*/ 321372949 w 750"/>
                  <a:gd name="T5" fmla="*/ 856206553 h 1207"/>
                  <a:gd name="T6" fmla="*/ 292376708 w 750"/>
                  <a:gd name="T7" fmla="*/ 834915628 h 1207"/>
                  <a:gd name="T8" fmla="*/ 279489988 w 750"/>
                  <a:gd name="T9" fmla="*/ 812864312 h 1207"/>
                  <a:gd name="T10" fmla="*/ 249688720 w 750"/>
                  <a:gd name="T11" fmla="*/ 797656508 h 1207"/>
                  <a:gd name="T12" fmla="*/ 159478036 w 750"/>
                  <a:gd name="T13" fmla="*/ 788531826 h 1207"/>
                  <a:gd name="T14" fmla="*/ 120011952 w 750"/>
                  <a:gd name="T15" fmla="*/ 761156907 h 1207"/>
                  <a:gd name="T16" fmla="*/ 78128066 w 750"/>
                  <a:gd name="T17" fmla="*/ 742907542 h 1207"/>
                  <a:gd name="T18" fmla="*/ 54770592 w 750"/>
                  <a:gd name="T19" fmla="*/ 723897787 h 1207"/>
                  <a:gd name="T20" fmla="*/ 48326783 w 750"/>
                  <a:gd name="T21" fmla="*/ 684357497 h 1207"/>
                  <a:gd name="T22" fmla="*/ 41882975 w 750"/>
                  <a:gd name="T23" fmla="*/ 622765019 h 1207"/>
                  <a:gd name="T24" fmla="*/ 51548688 w 750"/>
                  <a:gd name="T25" fmla="*/ 542923177 h 1207"/>
                  <a:gd name="T26" fmla="*/ 41882975 w 750"/>
                  <a:gd name="T27" fmla="*/ 460040646 h 1207"/>
                  <a:gd name="T28" fmla="*/ 16108631 w 750"/>
                  <a:gd name="T29" fmla="*/ 420499375 h 1207"/>
                  <a:gd name="T30" fmla="*/ 0 w 750"/>
                  <a:gd name="T31" fmla="*/ 384000645 h 1207"/>
                  <a:gd name="T32" fmla="*/ 22552440 w 750"/>
                  <a:gd name="T33" fmla="*/ 334574411 h 1207"/>
                  <a:gd name="T34" fmla="*/ 57992496 w 750"/>
                  <a:gd name="T35" fmla="*/ 272982805 h 1207"/>
                  <a:gd name="T36" fmla="*/ 68463250 w 750"/>
                  <a:gd name="T37" fmla="*/ 206067541 h 1207"/>
                  <a:gd name="T38" fmla="*/ 132898672 w 750"/>
                  <a:gd name="T39" fmla="*/ 193140908 h 1207"/>
                  <a:gd name="T40" fmla="*/ 149007296 w 750"/>
                  <a:gd name="T41" fmla="*/ 153599746 h 1207"/>
                  <a:gd name="T42" fmla="*/ 178809462 w 750"/>
                  <a:gd name="T43" fmla="*/ 153599746 h 1207"/>
                  <a:gd name="T44" fmla="*/ 198139990 w 750"/>
                  <a:gd name="T45" fmla="*/ 165766861 h 1207"/>
                  <a:gd name="T46" fmla="*/ 253715651 w 750"/>
                  <a:gd name="T47" fmla="*/ 162725300 h 1207"/>
                  <a:gd name="T48" fmla="*/ 276268084 w 750"/>
                  <a:gd name="T49" fmla="*/ 135350381 h 1207"/>
                  <a:gd name="T50" fmla="*/ 311708133 w 750"/>
                  <a:gd name="T51" fmla="*/ 117101016 h 1207"/>
                  <a:gd name="T52" fmla="*/ 351174217 w 750"/>
                  <a:gd name="T53" fmla="*/ 107976307 h 1207"/>
                  <a:gd name="T54" fmla="*/ 373727547 w 750"/>
                  <a:gd name="T55" fmla="*/ 67675627 h 1207"/>
                  <a:gd name="T56" fmla="*/ 438162940 w 750"/>
                  <a:gd name="T57" fmla="*/ 40300694 h 1207"/>
                  <a:gd name="T58" fmla="*/ 455077489 w 750"/>
                  <a:gd name="T59" fmla="*/ 0 h 1207"/>
                  <a:gd name="T60" fmla="*/ 490516754 w 750"/>
                  <a:gd name="T61" fmla="*/ 9124686 h 1207"/>
                  <a:gd name="T62" fmla="*/ 519512995 w 750"/>
                  <a:gd name="T63" fmla="*/ 31176012 h 1207"/>
                  <a:gd name="T64" fmla="*/ 552536167 w 750"/>
                  <a:gd name="T65" fmla="*/ 49425376 h 1207"/>
                  <a:gd name="T66" fmla="*/ 591198121 w 750"/>
                  <a:gd name="T67" fmla="*/ 70717187 h 1207"/>
                  <a:gd name="T68" fmla="*/ 600862937 w 750"/>
                  <a:gd name="T69" fmla="*/ 117101016 h 1207"/>
                  <a:gd name="T70" fmla="*/ 587976217 w 750"/>
                  <a:gd name="T71" fmla="*/ 144475063 h 1207"/>
                  <a:gd name="T72" fmla="*/ 575088600 w 750"/>
                  <a:gd name="T73" fmla="*/ 174891543 h 1207"/>
                  <a:gd name="T74" fmla="*/ 587976217 w 750"/>
                  <a:gd name="T75" fmla="*/ 248649447 h 1207"/>
                  <a:gd name="T76" fmla="*/ 587976217 w 750"/>
                  <a:gd name="T77" fmla="*/ 334574411 h 1207"/>
                  <a:gd name="T78" fmla="*/ 571866696 w 750"/>
                  <a:gd name="T79" fmla="*/ 402250010 h 1207"/>
                  <a:gd name="T80" fmla="*/ 555758072 w 750"/>
                  <a:gd name="T81" fmla="*/ 460040646 h 1207"/>
                  <a:gd name="T82" fmla="*/ 558979976 w 750"/>
                  <a:gd name="T83" fmla="*/ 568016925 h 1207"/>
                  <a:gd name="T84" fmla="*/ 549314263 w 750"/>
                  <a:gd name="T85" fmla="*/ 634931262 h 1207"/>
                  <a:gd name="T86" fmla="*/ 597641032 w 750"/>
                  <a:gd name="T87" fmla="*/ 663065700 h 1207"/>
                  <a:gd name="T88" fmla="*/ 600862937 w 750"/>
                  <a:gd name="T89" fmla="*/ 678274376 h 1207"/>
                  <a:gd name="T90" fmla="*/ 536427543 w 750"/>
                  <a:gd name="T91" fmla="*/ 702606862 h 1207"/>
                  <a:gd name="T92" fmla="*/ 503404371 w 750"/>
                  <a:gd name="T93" fmla="*/ 705648423 h 1207"/>
                  <a:gd name="T94" fmla="*/ 484073843 w 750"/>
                  <a:gd name="T95" fmla="*/ 770281589 h 1207"/>
                  <a:gd name="T96" fmla="*/ 477630034 w 750"/>
                  <a:gd name="T97" fmla="*/ 788531826 h 1207"/>
                  <a:gd name="T98" fmla="*/ 477630034 w 750"/>
                  <a:gd name="T99" fmla="*/ 815905873 h 1207"/>
                  <a:gd name="T100" fmla="*/ 519512995 w 750"/>
                  <a:gd name="T101" fmla="*/ 809822751 h 1207"/>
                  <a:gd name="T102" fmla="*/ 532399714 w 750"/>
                  <a:gd name="T103" fmla="*/ 819707824 h 1207"/>
                  <a:gd name="T104" fmla="*/ 477630034 w 750"/>
                  <a:gd name="T105" fmla="*/ 834915628 h 1207"/>
                  <a:gd name="T106" fmla="*/ 438162940 w 750"/>
                  <a:gd name="T107" fmla="*/ 850123431 h 1207"/>
                  <a:gd name="T108" fmla="*/ 422054317 w 750"/>
                  <a:gd name="T109" fmla="*/ 874456790 h 1207"/>
                  <a:gd name="T110" fmla="*/ 428497228 w 750"/>
                  <a:gd name="T111" fmla="*/ 889664594 h 1207"/>
                  <a:gd name="T112" fmla="*/ 442189872 w 750"/>
                  <a:gd name="T113" fmla="*/ 911715909 h 1207"/>
                  <a:gd name="T114" fmla="*/ 405944795 w 750"/>
                  <a:gd name="T115" fmla="*/ 917799249 h 1207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750"/>
                  <a:gd name="T175" fmla="*/ 0 h 1207"/>
                  <a:gd name="T176" fmla="*/ 750 w 750"/>
                  <a:gd name="T177" fmla="*/ 1207 h 1207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750" h="1207">
                    <a:moveTo>
                      <a:pt x="504" y="1207"/>
                    </a:moveTo>
                    <a:lnTo>
                      <a:pt x="496" y="1199"/>
                    </a:lnTo>
                    <a:lnTo>
                      <a:pt x="480" y="1195"/>
                    </a:lnTo>
                    <a:lnTo>
                      <a:pt x="476" y="1186"/>
                    </a:lnTo>
                    <a:lnTo>
                      <a:pt x="472" y="1174"/>
                    </a:lnTo>
                    <a:lnTo>
                      <a:pt x="464" y="1170"/>
                    </a:lnTo>
                    <a:lnTo>
                      <a:pt x="448" y="1162"/>
                    </a:lnTo>
                    <a:lnTo>
                      <a:pt x="448" y="1158"/>
                    </a:lnTo>
                    <a:lnTo>
                      <a:pt x="444" y="1154"/>
                    </a:lnTo>
                    <a:lnTo>
                      <a:pt x="436" y="1142"/>
                    </a:lnTo>
                    <a:lnTo>
                      <a:pt x="419" y="1134"/>
                    </a:lnTo>
                    <a:lnTo>
                      <a:pt x="399" y="1126"/>
                    </a:lnTo>
                    <a:lnTo>
                      <a:pt x="383" y="1118"/>
                    </a:lnTo>
                    <a:lnTo>
                      <a:pt x="371" y="1114"/>
                    </a:lnTo>
                    <a:lnTo>
                      <a:pt x="367" y="1110"/>
                    </a:lnTo>
                    <a:lnTo>
                      <a:pt x="363" y="1098"/>
                    </a:lnTo>
                    <a:lnTo>
                      <a:pt x="359" y="1086"/>
                    </a:lnTo>
                    <a:lnTo>
                      <a:pt x="359" y="1078"/>
                    </a:lnTo>
                    <a:lnTo>
                      <a:pt x="355" y="1073"/>
                    </a:lnTo>
                    <a:lnTo>
                      <a:pt x="347" y="1069"/>
                    </a:lnTo>
                    <a:lnTo>
                      <a:pt x="343" y="1069"/>
                    </a:lnTo>
                    <a:lnTo>
                      <a:pt x="335" y="1061"/>
                    </a:lnTo>
                    <a:lnTo>
                      <a:pt x="331" y="1049"/>
                    </a:lnTo>
                    <a:lnTo>
                      <a:pt x="310" y="1049"/>
                    </a:lnTo>
                    <a:lnTo>
                      <a:pt x="298" y="1041"/>
                    </a:lnTo>
                    <a:lnTo>
                      <a:pt x="242" y="1041"/>
                    </a:lnTo>
                    <a:lnTo>
                      <a:pt x="206" y="1049"/>
                    </a:lnTo>
                    <a:lnTo>
                      <a:pt x="198" y="1037"/>
                    </a:lnTo>
                    <a:lnTo>
                      <a:pt x="185" y="1033"/>
                    </a:lnTo>
                    <a:lnTo>
                      <a:pt x="173" y="1017"/>
                    </a:lnTo>
                    <a:lnTo>
                      <a:pt x="161" y="1005"/>
                    </a:lnTo>
                    <a:lnTo>
                      <a:pt x="149" y="1001"/>
                    </a:lnTo>
                    <a:lnTo>
                      <a:pt x="145" y="997"/>
                    </a:lnTo>
                    <a:lnTo>
                      <a:pt x="121" y="993"/>
                    </a:lnTo>
                    <a:lnTo>
                      <a:pt x="101" y="989"/>
                    </a:lnTo>
                    <a:lnTo>
                      <a:pt x="97" y="977"/>
                    </a:lnTo>
                    <a:lnTo>
                      <a:pt x="85" y="969"/>
                    </a:lnTo>
                    <a:lnTo>
                      <a:pt x="81" y="969"/>
                    </a:lnTo>
                    <a:lnTo>
                      <a:pt x="72" y="965"/>
                    </a:lnTo>
                    <a:lnTo>
                      <a:pt x="68" y="952"/>
                    </a:lnTo>
                    <a:lnTo>
                      <a:pt x="68" y="936"/>
                    </a:lnTo>
                    <a:lnTo>
                      <a:pt x="64" y="928"/>
                    </a:lnTo>
                    <a:lnTo>
                      <a:pt x="64" y="924"/>
                    </a:lnTo>
                    <a:lnTo>
                      <a:pt x="60" y="900"/>
                    </a:lnTo>
                    <a:lnTo>
                      <a:pt x="60" y="872"/>
                    </a:lnTo>
                    <a:lnTo>
                      <a:pt x="56" y="864"/>
                    </a:lnTo>
                    <a:lnTo>
                      <a:pt x="52" y="831"/>
                    </a:lnTo>
                    <a:lnTo>
                      <a:pt x="52" y="819"/>
                    </a:lnTo>
                    <a:lnTo>
                      <a:pt x="52" y="807"/>
                    </a:lnTo>
                    <a:lnTo>
                      <a:pt x="56" y="779"/>
                    </a:lnTo>
                    <a:lnTo>
                      <a:pt x="64" y="747"/>
                    </a:lnTo>
                    <a:lnTo>
                      <a:pt x="64" y="714"/>
                    </a:lnTo>
                    <a:lnTo>
                      <a:pt x="64" y="686"/>
                    </a:lnTo>
                    <a:lnTo>
                      <a:pt x="60" y="650"/>
                    </a:lnTo>
                    <a:lnTo>
                      <a:pt x="56" y="614"/>
                    </a:lnTo>
                    <a:lnTo>
                      <a:pt x="52" y="605"/>
                    </a:lnTo>
                    <a:lnTo>
                      <a:pt x="48" y="593"/>
                    </a:lnTo>
                    <a:lnTo>
                      <a:pt x="36" y="581"/>
                    </a:lnTo>
                    <a:lnTo>
                      <a:pt x="20" y="573"/>
                    </a:lnTo>
                    <a:lnTo>
                      <a:pt x="20" y="553"/>
                    </a:lnTo>
                    <a:lnTo>
                      <a:pt x="12" y="537"/>
                    </a:lnTo>
                    <a:lnTo>
                      <a:pt x="4" y="529"/>
                    </a:lnTo>
                    <a:lnTo>
                      <a:pt x="0" y="529"/>
                    </a:lnTo>
                    <a:lnTo>
                      <a:pt x="0" y="505"/>
                    </a:lnTo>
                    <a:lnTo>
                      <a:pt x="0" y="476"/>
                    </a:lnTo>
                    <a:lnTo>
                      <a:pt x="8" y="468"/>
                    </a:lnTo>
                    <a:lnTo>
                      <a:pt x="20" y="460"/>
                    </a:lnTo>
                    <a:lnTo>
                      <a:pt x="28" y="440"/>
                    </a:lnTo>
                    <a:lnTo>
                      <a:pt x="44" y="420"/>
                    </a:lnTo>
                    <a:lnTo>
                      <a:pt x="52" y="408"/>
                    </a:lnTo>
                    <a:lnTo>
                      <a:pt x="68" y="380"/>
                    </a:lnTo>
                    <a:lnTo>
                      <a:pt x="72" y="359"/>
                    </a:lnTo>
                    <a:lnTo>
                      <a:pt x="72" y="311"/>
                    </a:lnTo>
                    <a:lnTo>
                      <a:pt x="68" y="295"/>
                    </a:lnTo>
                    <a:lnTo>
                      <a:pt x="68" y="275"/>
                    </a:lnTo>
                    <a:lnTo>
                      <a:pt x="85" y="271"/>
                    </a:lnTo>
                    <a:lnTo>
                      <a:pt x="97" y="263"/>
                    </a:lnTo>
                    <a:lnTo>
                      <a:pt x="133" y="263"/>
                    </a:lnTo>
                    <a:lnTo>
                      <a:pt x="161" y="259"/>
                    </a:lnTo>
                    <a:lnTo>
                      <a:pt x="165" y="254"/>
                    </a:lnTo>
                    <a:lnTo>
                      <a:pt x="169" y="250"/>
                    </a:lnTo>
                    <a:lnTo>
                      <a:pt x="173" y="230"/>
                    </a:lnTo>
                    <a:lnTo>
                      <a:pt x="177" y="206"/>
                    </a:lnTo>
                    <a:lnTo>
                      <a:pt x="185" y="202"/>
                    </a:lnTo>
                    <a:lnTo>
                      <a:pt x="194" y="198"/>
                    </a:lnTo>
                    <a:lnTo>
                      <a:pt x="202" y="198"/>
                    </a:lnTo>
                    <a:lnTo>
                      <a:pt x="218" y="198"/>
                    </a:lnTo>
                    <a:lnTo>
                      <a:pt x="222" y="202"/>
                    </a:lnTo>
                    <a:lnTo>
                      <a:pt x="226" y="206"/>
                    </a:lnTo>
                    <a:lnTo>
                      <a:pt x="230" y="210"/>
                    </a:lnTo>
                    <a:lnTo>
                      <a:pt x="234" y="214"/>
                    </a:lnTo>
                    <a:lnTo>
                      <a:pt x="246" y="218"/>
                    </a:lnTo>
                    <a:lnTo>
                      <a:pt x="250" y="222"/>
                    </a:lnTo>
                    <a:lnTo>
                      <a:pt x="286" y="222"/>
                    </a:lnTo>
                    <a:lnTo>
                      <a:pt x="306" y="218"/>
                    </a:lnTo>
                    <a:lnTo>
                      <a:pt x="315" y="214"/>
                    </a:lnTo>
                    <a:lnTo>
                      <a:pt x="319" y="206"/>
                    </a:lnTo>
                    <a:lnTo>
                      <a:pt x="331" y="198"/>
                    </a:lnTo>
                    <a:lnTo>
                      <a:pt x="335" y="194"/>
                    </a:lnTo>
                    <a:lnTo>
                      <a:pt x="343" y="178"/>
                    </a:lnTo>
                    <a:lnTo>
                      <a:pt x="351" y="166"/>
                    </a:lnTo>
                    <a:lnTo>
                      <a:pt x="359" y="158"/>
                    </a:lnTo>
                    <a:lnTo>
                      <a:pt x="371" y="154"/>
                    </a:lnTo>
                    <a:lnTo>
                      <a:pt x="387" y="154"/>
                    </a:lnTo>
                    <a:lnTo>
                      <a:pt x="399" y="154"/>
                    </a:lnTo>
                    <a:lnTo>
                      <a:pt x="411" y="154"/>
                    </a:lnTo>
                    <a:lnTo>
                      <a:pt x="423" y="150"/>
                    </a:lnTo>
                    <a:lnTo>
                      <a:pt x="436" y="142"/>
                    </a:lnTo>
                    <a:lnTo>
                      <a:pt x="444" y="137"/>
                    </a:lnTo>
                    <a:lnTo>
                      <a:pt x="448" y="121"/>
                    </a:lnTo>
                    <a:lnTo>
                      <a:pt x="460" y="113"/>
                    </a:lnTo>
                    <a:lnTo>
                      <a:pt x="464" y="89"/>
                    </a:lnTo>
                    <a:lnTo>
                      <a:pt x="468" y="73"/>
                    </a:lnTo>
                    <a:lnTo>
                      <a:pt x="496" y="73"/>
                    </a:lnTo>
                    <a:lnTo>
                      <a:pt x="524" y="65"/>
                    </a:lnTo>
                    <a:lnTo>
                      <a:pt x="544" y="53"/>
                    </a:lnTo>
                    <a:lnTo>
                      <a:pt x="553" y="41"/>
                    </a:lnTo>
                    <a:lnTo>
                      <a:pt x="557" y="16"/>
                    </a:lnTo>
                    <a:lnTo>
                      <a:pt x="557" y="0"/>
                    </a:lnTo>
                    <a:lnTo>
                      <a:pt x="565" y="0"/>
                    </a:lnTo>
                    <a:lnTo>
                      <a:pt x="581" y="0"/>
                    </a:lnTo>
                    <a:lnTo>
                      <a:pt x="585" y="4"/>
                    </a:lnTo>
                    <a:lnTo>
                      <a:pt x="593" y="8"/>
                    </a:lnTo>
                    <a:lnTo>
                      <a:pt x="609" y="12"/>
                    </a:lnTo>
                    <a:lnTo>
                      <a:pt x="629" y="16"/>
                    </a:lnTo>
                    <a:lnTo>
                      <a:pt x="641" y="29"/>
                    </a:lnTo>
                    <a:lnTo>
                      <a:pt x="645" y="41"/>
                    </a:lnTo>
                    <a:lnTo>
                      <a:pt x="653" y="45"/>
                    </a:lnTo>
                    <a:lnTo>
                      <a:pt x="661" y="53"/>
                    </a:lnTo>
                    <a:lnTo>
                      <a:pt x="670" y="65"/>
                    </a:lnTo>
                    <a:lnTo>
                      <a:pt x="686" y="65"/>
                    </a:lnTo>
                    <a:lnTo>
                      <a:pt x="722" y="73"/>
                    </a:lnTo>
                    <a:lnTo>
                      <a:pt x="722" y="77"/>
                    </a:lnTo>
                    <a:lnTo>
                      <a:pt x="730" y="85"/>
                    </a:lnTo>
                    <a:lnTo>
                      <a:pt x="734" y="93"/>
                    </a:lnTo>
                    <a:lnTo>
                      <a:pt x="750" y="117"/>
                    </a:lnTo>
                    <a:lnTo>
                      <a:pt x="750" y="125"/>
                    </a:lnTo>
                    <a:lnTo>
                      <a:pt x="750" y="137"/>
                    </a:lnTo>
                    <a:lnTo>
                      <a:pt x="746" y="154"/>
                    </a:lnTo>
                    <a:lnTo>
                      <a:pt x="734" y="166"/>
                    </a:lnTo>
                    <a:lnTo>
                      <a:pt x="730" y="170"/>
                    </a:lnTo>
                    <a:lnTo>
                      <a:pt x="730" y="174"/>
                    </a:lnTo>
                    <a:lnTo>
                      <a:pt x="730" y="190"/>
                    </a:lnTo>
                    <a:lnTo>
                      <a:pt x="722" y="206"/>
                    </a:lnTo>
                    <a:lnTo>
                      <a:pt x="718" y="210"/>
                    </a:lnTo>
                    <a:lnTo>
                      <a:pt x="714" y="214"/>
                    </a:lnTo>
                    <a:lnTo>
                      <a:pt x="714" y="230"/>
                    </a:lnTo>
                    <a:lnTo>
                      <a:pt x="714" y="250"/>
                    </a:lnTo>
                    <a:lnTo>
                      <a:pt x="718" y="259"/>
                    </a:lnTo>
                    <a:lnTo>
                      <a:pt x="722" y="271"/>
                    </a:lnTo>
                    <a:lnTo>
                      <a:pt x="730" y="327"/>
                    </a:lnTo>
                    <a:lnTo>
                      <a:pt x="730" y="355"/>
                    </a:lnTo>
                    <a:lnTo>
                      <a:pt x="730" y="367"/>
                    </a:lnTo>
                    <a:lnTo>
                      <a:pt x="730" y="380"/>
                    </a:lnTo>
                    <a:lnTo>
                      <a:pt x="730" y="440"/>
                    </a:lnTo>
                    <a:lnTo>
                      <a:pt x="730" y="493"/>
                    </a:lnTo>
                    <a:lnTo>
                      <a:pt x="722" y="505"/>
                    </a:lnTo>
                    <a:lnTo>
                      <a:pt x="714" y="525"/>
                    </a:lnTo>
                    <a:lnTo>
                      <a:pt x="710" y="529"/>
                    </a:lnTo>
                    <a:lnTo>
                      <a:pt x="698" y="529"/>
                    </a:lnTo>
                    <a:lnTo>
                      <a:pt x="694" y="549"/>
                    </a:lnTo>
                    <a:lnTo>
                      <a:pt x="686" y="573"/>
                    </a:lnTo>
                    <a:lnTo>
                      <a:pt x="690" y="605"/>
                    </a:lnTo>
                    <a:lnTo>
                      <a:pt x="694" y="642"/>
                    </a:lnTo>
                    <a:lnTo>
                      <a:pt x="694" y="674"/>
                    </a:lnTo>
                    <a:lnTo>
                      <a:pt x="694" y="710"/>
                    </a:lnTo>
                    <a:lnTo>
                      <a:pt x="694" y="747"/>
                    </a:lnTo>
                    <a:lnTo>
                      <a:pt x="694" y="779"/>
                    </a:lnTo>
                    <a:lnTo>
                      <a:pt x="686" y="799"/>
                    </a:lnTo>
                    <a:lnTo>
                      <a:pt x="682" y="823"/>
                    </a:lnTo>
                    <a:lnTo>
                      <a:pt x="682" y="835"/>
                    </a:lnTo>
                    <a:lnTo>
                      <a:pt x="682" y="856"/>
                    </a:lnTo>
                    <a:lnTo>
                      <a:pt x="686" y="860"/>
                    </a:lnTo>
                    <a:lnTo>
                      <a:pt x="710" y="864"/>
                    </a:lnTo>
                    <a:lnTo>
                      <a:pt x="742" y="872"/>
                    </a:lnTo>
                    <a:lnTo>
                      <a:pt x="746" y="872"/>
                    </a:lnTo>
                    <a:lnTo>
                      <a:pt x="746" y="876"/>
                    </a:lnTo>
                    <a:lnTo>
                      <a:pt x="746" y="884"/>
                    </a:lnTo>
                    <a:lnTo>
                      <a:pt x="746" y="892"/>
                    </a:lnTo>
                    <a:lnTo>
                      <a:pt x="734" y="900"/>
                    </a:lnTo>
                    <a:lnTo>
                      <a:pt x="730" y="908"/>
                    </a:lnTo>
                    <a:lnTo>
                      <a:pt x="698" y="916"/>
                    </a:lnTo>
                    <a:lnTo>
                      <a:pt x="666" y="924"/>
                    </a:lnTo>
                    <a:lnTo>
                      <a:pt x="661" y="924"/>
                    </a:lnTo>
                    <a:lnTo>
                      <a:pt x="657" y="928"/>
                    </a:lnTo>
                    <a:lnTo>
                      <a:pt x="641" y="928"/>
                    </a:lnTo>
                    <a:lnTo>
                      <a:pt x="625" y="928"/>
                    </a:lnTo>
                    <a:lnTo>
                      <a:pt x="609" y="956"/>
                    </a:lnTo>
                    <a:lnTo>
                      <a:pt x="605" y="969"/>
                    </a:lnTo>
                    <a:lnTo>
                      <a:pt x="605" y="993"/>
                    </a:lnTo>
                    <a:lnTo>
                      <a:pt x="601" y="1013"/>
                    </a:lnTo>
                    <a:lnTo>
                      <a:pt x="601" y="1017"/>
                    </a:lnTo>
                    <a:lnTo>
                      <a:pt x="597" y="1017"/>
                    </a:lnTo>
                    <a:lnTo>
                      <a:pt x="593" y="1029"/>
                    </a:lnTo>
                    <a:lnTo>
                      <a:pt x="593" y="1037"/>
                    </a:lnTo>
                    <a:lnTo>
                      <a:pt x="577" y="1049"/>
                    </a:lnTo>
                    <a:lnTo>
                      <a:pt x="565" y="1065"/>
                    </a:lnTo>
                    <a:lnTo>
                      <a:pt x="581" y="1065"/>
                    </a:lnTo>
                    <a:lnTo>
                      <a:pt x="593" y="1073"/>
                    </a:lnTo>
                    <a:lnTo>
                      <a:pt x="601" y="1073"/>
                    </a:lnTo>
                    <a:lnTo>
                      <a:pt x="609" y="1073"/>
                    </a:lnTo>
                    <a:lnTo>
                      <a:pt x="633" y="1065"/>
                    </a:lnTo>
                    <a:lnTo>
                      <a:pt x="645" y="1065"/>
                    </a:lnTo>
                    <a:lnTo>
                      <a:pt x="657" y="1069"/>
                    </a:lnTo>
                    <a:lnTo>
                      <a:pt x="670" y="1069"/>
                    </a:lnTo>
                    <a:lnTo>
                      <a:pt x="666" y="1073"/>
                    </a:lnTo>
                    <a:lnTo>
                      <a:pt x="661" y="1078"/>
                    </a:lnTo>
                    <a:lnTo>
                      <a:pt x="645" y="1086"/>
                    </a:lnTo>
                    <a:lnTo>
                      <a:pt x="641" y="1090"/>
                    </a:lnTo>
                    <a:lnTo>
                      <a:pt x="613" y="1090"/>
                    </a:lnTo>
                    <a:lnTo>
                      <a:pt x="593" y="1098"/>
                    </a:lnTo>
                    <a:lnTo>
                      <a:pt x="577" y="1106"/>
                    </a:lnTo>
                    <a:lnTo>
                      <a:pt x="557" y="1114"/>
                    </a:lnTo>
                    <a:lnTo>
                      <a:pt x="553" y="1118"/>
                    </a:lnTo>
                    <a:lnTo>
                      <a:pt x="544" y="1118"/>
                    </a:lnTo>
                    <a:lnTo>
                      <a:pt x="532" y="1126"/>
                    </a:lnTo>
                    <a:lnTo>
                      <a:pt x="524" y="1142"/>
                    </a:lnTo>
                    <a:lnTo>
                      <a:pt x="524" y="1146"/>
                    </a:lnTo>
                    <a:lnTo>
                      <a:pt x="524" y="1150"/>
                    </a:lnTo>
                    <a:lnTo>
                      <a:pt x="524" y="1154"/>
                    </a:lnTo>
                    <a:lnTo>
                      <a:pt x="528" y="1154"/>
                    </a:lnTo>
                    <a:lnTo>
                      <a:pt x="528" y="1162"/>
                    </a:lnTo>
                    <a:lnTo>
                      <a:pt x="532" y="1170"/>
                    </a:lnTo>
                    <a:lnTo>
                      <a:pt x="544" y="1182"/>
                    </a:lnTo>
                    <a:lnTo>
                      <a:pt x="549" y="1190"/>
                    </a:lnTo>
                    <a:lnTo>
                      <a:pt x="549" y="1195"/>
                    </a:lnTo>
                    <a:lnTo>
                      <a:pt x="549" y="1199"/>
                    </a:lnTo>
                    <a:lnTo>
                      <a:pt x="544" y="1203"/>
                    </a:lnTo>
                    <a:lnTo>
                      <a:pt x="532" y="1207"/>
                    </a:lnTo>
                    <a:lnTo>
                      <a:pt x="520" y="1207"/>
                    </a:lnTo>
                    <a:lnTo>
                      <a:pt x="504" y="120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29" name="Freeform 37"/>
              <p:cNvSpPr>
                <a:spLocks/>
              </p:cNvSpPr>
              <p:nvPr/>
            </p:nvSpPr>
            <p:spPr bwMode="auto">
              <a:xfrm>
                <a:off x="4132349" y="3627151"/>
                <a:ext cx="1084264" cy="846366"/>
              </a:xfrm>
              <a:custGeom>
                <a:avLst/>
                <a:gdLst>
                  <a:gd name="T0" fmla="*/ 417201349 w 1207"/>
                  <a:gd name="T1" fmla="*/ 687987439 h 952"/>
                  <a:gd name="T2" fmla="*/ 358292744 w 1207"/>
                  <a:gd name="T3" fmla="*/ 675864589 h 952"/>
                  <a:gd name="T4" fmla="*/ 319558430 w 1207"/>
                  <a:gd name="T5" fmla="*/ 687987439 h 952"/>
                  <a:gd name="T6" fmla="*/ 263877460 w 1207"/>
                  <a:gd name="T7" fmla="*/ 687987439 h 952"/>
                  <a:gd name="T8" fmla="*/ 238054584 w 1207"/>
                  <a:gd name="T9" fmla="*/ 656921710 h 952"/>
                  <a:gd name="T10" fmla="*/ 188829726 w 1207"/>
                  <a:gd name="T11" fmla="*/ 593275656 h 952"/>
                  <a:gd name="T12" fmla="*/ 150095412 w 1207"/>
                  <a:gd name="T13" fmla="*/ 550087076 h 952"/>
                  <a:gd name="T14" fmla="*/ 55680984 w 1207"/>
                  <a:gd name="T15" fmla="*/ 550087076 h 952"/>
                  <a:gd name="T16" fmla="*/ 45997181 w 1207"/>
                  <a:gd name="T17" fmla="*/ 519779514 h 952"/>
                  <a:gd name="T18" fmla="*/ 7262854 w 1207"/>
                  <a:gd name="T19" fmla="*/ 492502013 h 952"/>
                  <a:gd name="T20" fmla="*/ 13718126 w 1207"/>
                  <a:gd name="T21" fmla="*/ 437190473 h 952"/>
                  <a:gd name="T22" fmla="*/ 7262854 w 1207"/>
                  <a:gd name="T23" fmla="*/ 372786252 h 952"/>
                  <a:gd name="T24" fmla="*/ 13718126 w 1207"/>
                  <a:gd name="T25" fmla="*/ 342478690 h 952"/>
                  <a:gd name="T26" fmla="*/ 65363903 w 1207"/>
                  <a:gd name="T27" fmla="*/ 308382030 h 952"/>
                  <a:gd name="T28" fmla="*/ 84731509 w 1207"/>
                  <a:gd name="T29" fmla="*/ 268981678 h 952"/>
                  <a:gd name="T30" fmla="*/ 55680984 w 1207"/>
                  <a:gd name="T31" fmla="*/ 244735976 h 952"/>
                  <a:gd name="T32" fmla="*/ 23401932 w 1207"/>
                  <a:gd name="T33" fmla="*/ 229581325 h 952"/>
                  <a:gd name="T34" fmla="*/ 16946663 w 1207"/>
                  <a:gd name="T35" fmla="*/ 195485481 h 952"/>
                  <a:gd name="T36" fmla="*/ 71820071 w 1207"/>
                  <a:gd name="T37" fmla="*/ 165177920 h 952"/>
                  <a:gd name="T38" fmla="*/ 114588704 w 1207"/>
                  <a:gd name="T39" fmla="*/ 137900418 h 952"/>
                  <a:gd name="T40" fmla="*/ 228370725 w 1207"/>
                  <a:gd name="T41" fmla="*/ 153054199 h 952"/>
                  <a:gd name="T42" fmla="*/ 289700336 w 1207"/>
                  <a:gd name="T43" fmla="*/ 165177920 h 952"/>
                  <a:gd name="T44" fmla="*/ 345381306 w 1207"/>
                  <a:gd name="T45" fmla="*/ 153054199 h 952"/>
                  <a:gd name="T46" fmla="*/ 410745181 w 1207"/>
                  <a:gd name="T47" fmla="*/ 134112190 h 952"/>
                  <a:gd name="T48" fmla="*/ 443023327 w 1207"/>
                  <a:gd name="T49" fmla="*/ 125019399 h 952"/>
                  <a:gd name="T50" fmla="*/ 553577797 w 1207"/>
                  <a:gd name="T51" fmla="*/ 88649950 h 952"/>
                  <a:gd name="T52" fmla="*/ 651220716 w 1207"/>
                  <a:gd name="T53" fmla="*/ 67435179 h 952"/>
                  <a:gd name="T54" fmla="*/ 716584590 w 1207"/>
                  <a:gd name="T55" fmla="*/ 76527099 h 952"/>
                  <a:gd name="T56" fmla="*/ 772265560 w 1207"/>
                  <a:gd name="T57" fmla="*/ 94711810 h 952"/>
                  <a:gd name="T58" fmla="*/ 836822751 w 1207"/>
                  <a:gd name="T59" fmla="*/ 70466109 h 952"/>
                  <a:gd name="T60" fmla="*/ 856189459 w 1207"/>
                  <a:gd name="T61" fmla="*/ 24246578 h 952"/>
                  <a:gd name="T62" fmla="*/ 879591384 w 1207"/>
                  <a:gd name="T63" fmla="*/ 0 h 952"/>
                  <a:gd name="T64" fmla="*/ 947377333 w 1207"/>
                  <a:gd name="T65" fmla="*/ 42431296 h 952"/>
                  <a:gd name="T66" fmla="*/ 950604967 w 1207"/>
                  <a:gd name="T67" fmla="*/ 134112190 h 952"/>
                  <a:gd name="T68" fmla="*/ 915098064 w 1207"/>
                  <a:gd name="T69" fmla="*/ 115927479 h 952"/>
                  <a:gd name="T70" fmla="*/ 863452311 w 1207"/>
                  <a:gd name="T71" fmla="*/ 159116059 h 952"/>
                  <a:gd name="T72" fmla="*/ 843278021 w 1207"/>
                  <a:gd name="T73" fmla="*/ 189423621 h 952"/>
                  <a:gd name="T74" fmla="*/ 817455144 w 1207"/>
                  <a:gd name="T75" fmla="*/ 207608332 h 952"/>
                  <a:gd name="T76" fmla="*/ 788404633 w 1207"/>
                  <a:gd name="T77" fmla="*/ 265950747 h 952"/>
                  <a:gd name="T78" fmla="*/ 775493195 w 1207"/>
                  <a:gd name="T79" fmla="*/ 287166389 h 952"/>
                  <a:gd name="T80" fmla="*/ 739179832 w 1207"/>
                  <a:gd name="T81" fmla="*/ 339447760 h 952"/>
                  <a:gd name="T82" fmla="*/ 745635101 w 1207"/>
                  <a:gd name="T83" fmla="*/ 394001893 h 952"/>
                  <a:gd name="T84" fmla="*/ 716584590 w 1207"/>
                  <a:gd name="T85" fmla="*/ 412943901 h 952"/>
                  <a:gd name="T86" fmla="*/ 719813124 w 1207"/>
                  <a:gd name="T87" fmla="*/ 464467213 h 952"/>
                  <a:gd name="T88" fmla="*/ 729496028 w 1207"/>
                  <a:gd name="T89" fmla="*/ 510686724 h 952"/>
                  <a:gd name="T90" fmla="*/ 700445517 w 1207"/>
                  <a:gd name="T91" fmla="*/ 553118006 h 952"/>
                  <a:gd name="T92" fmla="*/ 654448351 w 1207"/>
                  <a:gd name="T93" fmla="*/ 565240857 h 952"/>
                  <a:gd name="T94" fmla="*/ 644764547 w 1207"/>
                  <a:gd name="T95" fmla="*/ 599336646 h 952"/>
                  <a:gd name="T96" fmla="*/ 638309278 w 1207"/>
                  <a:gd name="T97" fmla="*/ 629645078 h 952"/>
                  <a:gd name="T98" fmla="*/ 563261600 w 1207"/>
                  <a:gd name="T99" fmla="*/ 629645078 h 952"/>
                  <a:gd name="T100" fmla="*/ 550350162 w 1207"/>
                  <a:gd name="T101" fmla="*/ 700110290 h 952"/>
                  <a:gd name="T102" fmla="*/ 439795692 w 1207"/>
                  <a:gd name="T103" fmla="*/ 721325931 h 95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207"/>
                  <a:gd name="T157" fmla="*/ 0 h 952"/>
                  <a:gd name="T158" fmla="*/ 1207 w 1207"/>
                  <a:gd name="T159" fmla="*/ 952 h 95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207" h="952">
                    <a:moveTo>
                      <a:pt x="545" y="952"/>
                    </a:moveTo>
                    <a:lnTo>
                      <a:pt x="533" y="940"/>
                    </a:lnTo>
                    <a:lnTo>
                      <a:pt x="521" y="924"/>
                    </a:lnTo>
                    <a:lnTo>
                      <a:pt x="521" y="916"/>
                    </a:lnTo>
                    <a:lnTo>
                      <a:pt x="517" y="908"/>
                    </a:lnTo>
                    <a:lnTo>
                      <a:pt x="509" y="904"/>
                    </a:lnTo>
                    <a:lnTo>
                      <a:pt x="505" y="888"/>
                    </a:lnTo>
                    <a:lnTo>
                      <a:pt x="476" y="888"/>
                    </a:lnTo>
                    <a:lnTo>
                      <a:pt x="452" y="888"/>
                    </a:lnTo>
                    <a:lnTo>
                      <a:pt x="444" y="892"/>
                    </a:lnTo>
                    <a:lnTo>
                      <a:pt x="432" y="896"/>
                    </a:lnTo>
                    <a:lnTo>
                      <a:pt x="412" y="896"/>
                    </a:lnTo>
                    <a:lnTo>
                      <a:pt x="408" y="904"/>
                    </a:lnTo>
                    <a:lnTo>
                      <a:pt x="404" y="908"/>
                    </a:lnTo>
                    <a:lnTo>
                      <a:pt x="396" y="908"/>
                    </a:lnTo>
                    <a:lnTo>
                      <a:pt x="380" y="916"/>
                    </a:lnTo>
                    <a:lnTo>
                      <a:pt x="359" y="916"/>
                    </a:lnTo>
                    <a:lnTo>
                      <a:pt x="335" y="916"/>
                    </a:lnTo>
                    <a:lnTo>
                      <a:pt x="331" y="916"/>
                    </a:lnTo>
                    <a:lnTo>
                      <a:pt x="327" y="908"/>
                    </a:lnTo>
                    <a:lnTo>
                      <a:pt x="323" y="904"/>
                    </a:lnTo>
                    <a:lnTo>
                      <a:pt x="323" y="896"/>
                    </a:lnTo>
                    <a:lnTo>
                      <a:pt x="315" y="888"/>
                    </a:lnTo>
                    <a:lnTo>
                      <a:pt x="299" y="871"/>
                    </a:lnTo>
                    <a:lnTo>
                      <a:pt x="295" y="867"/>
                    </a:lnTo>
                    <a:lnTo>
                      <a:pt x="291" y="855"/>
                    </a:lnTo>
                    <a:lnTo>
                      <a:pt x="275" y="839"/>
                    </a:lnTo>
                    <a:lnTo>
                      <a:pt x="247" y="799"/>
                    </a:lnTo>
                    <a:lnTo>
                      <a:pt x="238" y="791"/>
                    </a:lnTo>
                    <a:lnTo>
                      <a:pt x="234" y="783"/>
                    </a:lnTo>
                    <a:lnTo>
                      <a:pt x="230" y="775"/>
                    </a:lnTo>
                    <a:lnTo>
                      <a:pt x="218" y="771"/>
                    </a:lnTo>
                    <a:lnTo>
                      <a:pt x="206" y="750"/>
                    </a:lnTo>
                    <a:lnTo>
                      <a:pt x="198" y="726"/>
                    </a:lnTo>
                    <a:lnTo>
                      <a:pt x="186" y="726"/>
                    </a:lnTo>
                    <a:lnTo>
                      <a:pt x="178" y="726"/>
                    </a:lnTo>
                    <a:lnTo>
                      <a:pt x="178" y="718"/>
                    </a:lnTo>
                    <a:lnTo>
                      <a:pt x="178" y="714"/>
                    </a:lnTo>
                    <a:lnTo>
                      <a:pt x="93" y="726"/>
                    </a:lnTo>
                    <a:lnTo>
                      <a:pt x="69" y="726"/>
                    </a:lnTo>
                    <a:lnTo>
                      <a:pt x="65" y="722"/>
                    </a:lnTo>
                    <a:lnTo>
                      <a:pt x="65" y="718"/>
                    </a:lnTo>
                    <a:lnTo>
                      <a:pt x="57" y="702"/>
                    </a:lnTo>
                    <a:lnTo>
                      <a:pt x="57" y="690"/>
                    </a:lnTo>
                    <a:lnTo>
                      <a:pt x="57" y="686"/>
                    </a:lnTo>
                    <a:lnTo>
                      <a:pt x="57" y="678"/>
                    </a:lnTo>
                    <a:lnTo>
                      <a:pt x="57" y="670"/>
                    </a:lnTo>
                    <a:lnTo>
                      <a:pt x="29" y="666"/>
                    </a:lnTo>
                    <a:lnTo>
                      <a:pt x="21" y="662"/>
                    </a:lnTo>
                    <a:lnTo>
                      <a:pt x="9" y="650"/>
                    </a:lnTo>
                    <a:lnTo>
                      <a:pt x="0" y="633"/>
                    </a:lnTo>
                    <a:lnTo>
                      <a:pt x="0" y="617"/>
                    </a:lnTo>
                    <a:lnTo>
                      <a:pt x="0" y="605"/>
                    </a:lnTo>
                    <a:lnTo>
                      <a:pt x="9" y="593"/>
                    </a:lnTo>
                    <a:lnTo>
                      <a:pt x="17" y="577"/>
                    </a:lnTo>
                    <a:lnTo>
                      <a:pt x="17" y="557"/>
                    </a:lnTo>
                    <a:lnTo>
                      <a:pt x="17" y="541"/>
                    </a:lnTo>
                    <a:lnTo>
                      <a:pt x="13" y="524"/>
                    </a:lnTo>
                    <a:lnTo>
                      <a:pt x="9" y="496"/>
                    </a:lnTo>
                    <a:lnTo>
                      <a:pt x="9" y="492"/>
                    </a:lnTo>
                    <a:lnTo>
                      <a:pt x="4" y="492"/>
                    </a:lnTo>
                    <a:lnTo>
                      <a:pt x="4" y="472"/>
                    </a:lnTo>
                    <a:lnTo>
                      <a:pt x="4" y="460"/>
                    </a:lnTo>
                    <a:lnTo>
                      <a:pt x="13" y="456"/>
                    </a:lnTo>
                    <a:lnTo>
                      <a:pt x="17" y="452"/>
                    </a:lnTo>
                    <a:lnTo>
                      <a:pt x="37" y="448"/>
                    </a:lnTo>
                    <a:lnTo>
                      <a:pt x="57" y="436"/>
                    </a:lnTo>
                    <a:lnTo>
                      <a:pt x="65" y="424"/>
                    </a:lnTo>
                    <a:lnTo>
                      <a:pt x="73" y="411"/>
                    </a:lnTo>
                    <a:lnTo>
                      <a:pt x="81" y="407"/>
                    </a:lnTo>
                    <a:lnTo>
                      <a:pt x="93" y="399"/>
                    </a:lnTo>
                    <a:lnTo>
                      <a:pt x="101" y="391"/>
                    </a:lnTo>
                    <a:lnTo>
                      <a:pt x="105" y="379"/>
                    </a:lnTo>
                    <a:lnTo>
                      <a:pt x="105" y="371"/>
                    </a:lnTo>
                    <a:lnTo>
                      <a:pt x="105" y="355"/>
                    </a:lnTo>
                    <a:lnTo>
                      <a:pt x="101" y="347"/>
                    </a:lnTo>
                    <a:lnTo>
                      <a:pt x="97" y="335"/>
                    </a:lnTo>
                    <a:lnTo>
                      <a:pt x="89" y="335"/>
                    </a:lnTo>
                    <a:lnTo>
                      <a:pt x="77" y="323"/>
                    </a:lnTo>
                    <a:lnTo>
                      <a:pt x="69" y="323"/>
                    </a:lnTo>
                    <a:lnTo>
                      <a:pt x="57" y="319"/>
                    </a:lnTo>
                    <a:lnTo>
                      <a:pt x="53" y="307"/>
                    </a:lnTo>
                    <a:lnTo>
                      <a:pt x="41" y="307"/>
                    </a:lnTo>
                    <a:lnTo>
                      <a:pt x="29" y="303"/>
                    </a:lnTo>
                    <a:lnTo>
                      <a:pt x="17" y="294"/>
                    </a:lnTo>
                    <a:lnTo>
                      <a:pt x="4" y="282"/>
                    </a:lnTo>
                    <a:lnTo>
                      <a:pt x="4" y="270"/>
                    </a:lnTo>
                    <a:lnTo>
                      <a:pt x="4" y="266"/>
                    </a:lnTo>
                    <a:lnTo>
                      <a:pt x="21" y="258"/>
                    </a:lnTo>
                    <a:lnTo>
                      <a:pt x="41" y="250"/>
                    </a:lnTo>
                    <a:lnTo>
                      <a:pt x="53" y="250"/>
                    </a:lnTo>
                    <a:lnTo>
                      <a:pt x="65" y="250"/>
                    </a:lnTo>
                    <a:lnTo>
                      <a:pt x="73" y="234"/>
                    </a:lnTo>
                    <a:lnTo>
                      <a:pt x="89" y="218"/>
                    </a:lnTo>
                    <a:lnTo>
                      <a:pt x="89" y="206"/>
                    </a:lnTo>
                    <a:lnTo>
                      <a:pt x="89" y="186"/>
                    </a:lnTo>
                    <a:lnTo>
                      <a:pt x="105" y="186"/>
                    </a:lnTo>
                    <a:lnTo>
                      <a:pt x="121" y="182"/>
                    </a:lnTo>
                    <a:lnTo>
                      <a:pt x="142" y="182"/>
                    </a:lnTo>
                    <a:lnTo>
                      <a:pt x="158" y="182"/>
                    </a:lnTo>
                    <a:lnTo>
                      <a:pt x="194" y="186"/>
                    </a:lnTo>
                    <a:lnTo>
                      <a:pt x="222" y="198"/>
                    </a:lnTo>
                    <a:lnTo>
                      <a:pt x="251" y="198"/>
                    </a:lnTo>
                    <a:lnTo>
                      <a:pt x="283" y="202"/>
                    </a:lnTo>
                    <a:lnTo>
                      <a:pt x="295" y="206"/>
                    </a:lnTo>
                    <a:lnTo>
                      <a:pt x="319" y="210"/>
                    </a:lnTo>
                    <a:lnTo>
                      <a:pt x="343" y="218"/>
                    </a:lnTo>
                    <a:lnTo>
                      <a:pt x="359" y="218"/>
                    </a:lnTo>
                    <a:lnTo>
                      <a:pt x="380" y="218"/>
                    </a:lnTo>
                    <a:lnTo>
                      <a:pt x="384" y="214"/>
                    </a:lnTo>
                    <a:lnTo>
                      <a:pt x="400" y="210"/>
                    </a:lnTo>
                    <a:lnTo>
                      <a:pt x="404" y="206"/>
                    </a:lnTo>
                    <a:lnTo>
                      <a:pt x="428" y="202"/>
                    </a:lnTo>
                    <a:lnTo>
                      <a:pt x="444" y="202"/>
                    </a:lnTo>
                    <a:lnTo>
                      <a:pt x="452" y="198"/>
                    </a:lnTo>
                    <a:lnTo>
                      <a:pt x="476" y="186"/>
                    </a:lnTo>
                    <a:lnTo>
                      <a:pt x="509" y="182"/>
                    </a:lnTo>
                    <a:lnTo>
                      <a:pt x="509" y="177"/>
                    </a:lnTo>
                    <a:lnTo>
                      <a:pt x="509" y="173"/>
                    </a:lnTo>
                    <a:lnTo>
                      <a:pt x="517" y="169"/>
                    </a:lnTo>
                    <a:lnTo>
                      <a:pt x="525" y="169"/>
                    </a:lnTo>
                    <a:lnTo>
                      <a:pt x="533" y="165"/>
                    </a:lnTo>
                    <a:lnTo>
                      <a:pt x="549" y="165"/>
                    </a:lnTo>
                    <a:lnTo>
                      <a:pt x="585" y="153"/>
                    </a:lnTo>
                    <a:lnTo>
                      <a:pt x="662" y="129"/>
                    </a:lnTo>
                    <a:lnTo>
                      <a:pt x="670" y="125"/>
                    </a:lnTo>
                    <a:lnTo>
                      <a:pt x="682" y="117"/>
                    </a:lnTo>
                    <a:lnTo>
                      <a:pt x="686" y="117"/>
                    </a:lnTo>
                    <a:lnTo>
                      <a:pt x="698" y="113"/>
                    </a:lnTo>
                    <a:lnTo>
                      <a:pt x="715" y="101"/>
                    </a:lnTo>
                    <a:lnTo>
                      <a:pt x="735" y="81"/>
                    </a:lnTo>
                    <a:lnTo>
                      <a:pt x="755" y="81"/>
                    </a:lnTo>
                    <a:lnTo>
                      <a:pt x="807" y="89"/>
                    </a:lnTo>
                    <a:lnTo>
                      <a:pt x="831" y="89"/>
                    </a:lnTo>
                    <a:lnTo>
                      <a:pt x="860" y="89"/>
                    </a:lnTo>
                    <a:lnTo>
                      <a:pt x="864" y="93"/>
                    </a:lnTo>
                    <a:lnTo>
                      <a:pt x="868" y="101"/>
                    </a:lnTo>
                    <a:lnTo>
                      <a:pt x="888" y="101"/>
                    </a:lnTo>
                    <a:lnTo>
                      <a:pt x="904" y="101"/>
                    </a:lnTo>
                    <a:lnTo>
                      <a:pt x="904" y="113"/>
                    </a:lnTo>
                    <a:lnTo>
                      <a:pt x="908" y="117"/>
                    </a:lnTo>
                    <a:lnTo>
                      <a:pt x="912" y="125"/>
                    </a:lnTo>
                    <a:lnTo>
                      <a:pt x="957" y="125"/>
                    </a:lnTo>
                    <a:lnTo>
                      <a:pt x="989" y="117"/>
                    </a:lnTo>
                    <a:lnTo>
                      <a:pt x="1001" y="113"/>
                    </a:lnTo>
                    <a:lnTo>
                      <a:pt x="1013" y="101"/>
                    </a:lnTo>
                    <a:lnTo>
                      <a:pt x="1025" y="101"/>
                    </a:lnTo>
                    <a:lnTo>
                      <a:pt x="1037" y="93"/>
                    </a:lnTo>
                    <a:lnTo>
                      <a:pt x="1049" y="81"/>
                    </a:lnTo>
                    <a:lnTo>
                      <a:pt x="1057" y="77"/>
                    </a:lnTo>
                    <a:lnTo>
                      <a:pt x="1057" y="56"/>
                    </a:lnTo>
                    <a:lnTo>
                      <a:pt x="1061" y="40"/>
                    </a:lnTo>
                    <a:lnTo>
                      <a:pt x="1061" y="32"/>
                    </a:lnTo>
                    <a:lnTo>
                      <a:pt x="1070" y="28"/>
                    </a:lnTo>
                    <a:lnTo>
                      <a:pt x="1074" y="4"/>
                    </a:lnTo>
                    <a:lnTo>
                      <a:pt x="1074" y="0"/>
                    </a:lnTo>
                    <a:lnTo>
                      <a:pt x="1082" y="0"/>
                    </a:lnTo>
                    <a:lnTo>
                      <a:pt x="1090" y="0"/>
                    </a:lnTo>
                    <a:lnTo>
                      <a:pt x="1102" y="4"/>
                    </a:lnTo>
                    <a:lnTo>
                      <a:pt x="1110" y="8"/>
                    </a:lnTo>
                    <a:lnTo>
                      <a:pt x="1150" y="28"/>
                    </a:lnTo>
                    <a:lnTo>
                      <a:pt x="1154" y="40"/>
                    </a:lnTo>
                    <a:lnTo>
                      <a:pt x="1174" y="56"/>
                    </a:lnTo>
                    <a:lnTo>
                      <a:pt x="1203" y="81"/>
                    </a:lnTo>
                    <a:lnTo>
                      <a:pt x="1203" y="125"/>
                    </a:lnTo>
                    <a:lnTo>
                      <a:pt x="1207" y="161"/>
                    </a:lnTo>
                    <a:lnTo>
                      <a:pt x="1195" y="169"/>
                    </a:lnTo>
                    <a:lnTo>
                      <a:pt x="1178" y="177"/>
                    </a:lnTo>
                    <a:lnTo>
                      <a:pt x="1174" y="173"/>
                    </a:lnTo>
                    <a:lnTo>
                      <a:pt x="1166" y="169"/>
                    </a:lnTo>
                    <a:lnTo>
                      <a:pt x="1162" y="165"/>
                    </a:lnTo>
                    <a:lnTo>
                      <a:pt x="1150" y="161"/>
                    </a:lnTo>
                    <a:lnTo>
                      <a:pt x="1134" y="153"/>
                    </a:lnTo>
                    <a:lnTo>
                      <a:pt x="1110" y="153"/>
                    </a:lnTo>
                    <a:lnTo>
                      <a:pt x="1102" y="161"/>
                    </a:lnTo>
                    <a:lnTo>
                      <a:pt x="1090" y="165"/>
                    </a:lnTo>
                    <a:lnTo>
                      <a:pt x="1074" y="186"/>
                    </a:lnTo>
                    <a:lnTo>
                      <a:pt x="1070" y="210"/>
                    </a:lnTo>
                    <a:lnTo>
                      <a:pt x="1061" y="214"/>
                    </a:lnTo>
                    <a:lnTo>
                      <a:pt x="1053" y="218"/>
                    </a:lnTo>
                    <a:lnTo>
                      <a:pt x="1053" y="230"/>
                    </a:lnTo>
                    <a:lnTo>
                      <a:pt x="1049" y="242"/>
                    </a:lnTo>
                    <a:lnTo>
                      <a:pt x="1045" y="250"/>
                    </a:lnTo>
                    <a:lnTo>
                      <a:pt x="1037" y="254"/>
                    </a:lnTo>
                    <a:lnTo>
                      <a:pt x="1037" y="258"/>
                    </a:lnTo>
                    <a:lnTo>
                      <a:pt x="1025" y="262"/>
                    </a:lnTo>
                    <a:lnTo>
                      <a:pt x="1021" y="266"/>
                    </a:lnTo>
                    <a:lnTo>
                      <a:pt x="1013" y="274"/>
                    </a:lnTo>
                    <a:lnTo>
                      <a:pt x="1005" y="303"/>
                    </a:lnTo>
                    <a:lnTo>
                      <a:pt x="997" y="331"/>
                    </a:lnTo>
                    <a:lnTo>
                      <a:pt x="989" y="335"/>
                    </a:lnTo>
                    <a:lnTo>
                      <a:pt x="977" y="347"/>
                    </a:lnTo>
                    <a:lnTo>
                      <a:pt x="977" y="351"/>
                    </a:lnTo>
                    <a:lnTo>
                      <a:pt x="973" y="355"/>
                    </a:lnTo>
                    <a:lnTo>
                      <a:pt x="969" y="355"/>
                    </a:lnTo>
                    <a:lnTo>
                      <a:pt x="961" y="359"/>
                    </a:lnTo>
                    <a:lnTo>
                      <a:pt x="961" y="371"/>
                    </a:lnTo>
                    <a:lnTo>
                      <a:pt x="961" y="379"/>
                    </a:lnTo>
                    <a:lnTo>
                      <a:pt x="957" y="383"/>
                    </a:lnTo>
                    <a:lnTo>
                      <a:pt x="944" y="387"/>
                    </a:lnTo>
                    <a:lnTo>
                      <a:pt x="932" y="407"/>
                    </a:lnTo>
                    <a:lnTo>
                      <a:pt x="920" y="424"/>
                    </a:lnTo>
                    <a:lnTo>
                      <a:pt x="916" y="448"/>
                    </a:lnTo>
                    <a:lnTo>
                      <a:pt x="916" y="464"/>
                    </a:lnTo>
                    <a:lnTo>
                      <a:pt x="920" y="476"/>
                    </a:lnTo>
                    <a:lnTo>
                      <a:pt x="924" y="480"/>
                    </a:lnTo>
                    <a:lnTo>
                      <a:pt x="924" y="500"/>
                    </a:lnTo>
                    <a:lnTo>
                      <a:pt x="924" y="520"/>
                    </a:lnTo>
                    <a:lnTo>
                      <a:pt x="920" y="524"/>
                    </a:lnTo>
                    <a:lnTo>
                      <a:pt x="916" y="528"/>
                    </a:lnTo>
                    <a:lnTo>
                      <a:pt x="904" y="528"/>
                    </a:lnTo>
                    <a:lnTo>
                      <a:pt x="892" y="537"/>
                    </a:lnTo>
                    <a:lnTo>
                      <a:pt x="888" y="545"/>
                    </a:lnTo>
                    <a:lnTo>
                      <a:pt x="880" y="557"/>
                    </a:lnTo>
                    <a:lnTo>
                      <a:pt x="880" y="577"/>
                    </a:lnTo>
                    <a:lnTo>
                      <a:pt x="880" y="605"/>
                    </a:lnTo>
                    <a:lnTo>
                      <a:pt x="884" y="613"/>
                    </a:lnTo>
                    <a:lnTo>
                      <a:pt x="892" y="613"/>
                    </a:lnTo>
                    <a:lnTo>
                      <a:pt x="892" y="633"/>
                    </a:lnTo>
                    <a:lnTo>
                      <a:pt x="892" y="654"/>
                    </a:lnTo>
                    <a:lnTo>
                      <a:pt x="896" y="662"/>
                    </a:lnTo>
                    <a:lnTo>
                      <a:pt x="904" y="666"/>
                    </a:lnTo>
                    <a:lnTo>
                      <a:pt x="904" y="674"/>
                    </a:lnTo>
                    <a:lnTo>
                      <a:pt x="904" y="686"/>
                    </a:lnTo>
                    <a:lnTo>
                      <a:pt x="892" y="702"/>
                    </a:lnTo>
                    <a:lnTo>
                      <a:pt x="888" y="718"/>
                    </a:lnTo>
                    <a:lnTo>
                      <a:pt x="880" y="722"/>
                    </a:lnTo>
                    <a:lnTo>
                      <a:pt x="868" y="730"/>
                    </a:lnTo>
                    <a:lnTo>
                      <a:pt x="864" y="730"/>
                    </a:lnTo>
                    <a:lnTo>
                      <a:pt x="840" y="730"/>
                    </a:lnTo>
                    <a:lnTo>
                      <a:pt x="831" y="730"/>
                    </a:lnTo>
                    <a:lnTo>
                      <a:pt x="823" y="734"/>
                    </a:lnTo>
                    <a:lnTo>
                      <a:pt x="811" y="746"/>
                    </a:lnTo>
                    <a:lnTo>
                      <a:pt x="807" y="754"/>
                    </a:lnTo>
                    <a:lnTo>
                      <a:pt x="807" y="767"/>
                    </a:lnTo>
                    <a:lnTo>
                      <a:pt x="807" y="783"/>
                    </a:lnTo>
                    <a:lnTo>
                      <a:pt x="803" y="783"/>
                    </a:lnTo>
                    <a:lnTo>
                      <a:pt x="799" y="791"/>
                    </a:lnTo>
                    <a:lnTo>
                      <a:pt x="799" y="799"/>
                    </a:lnTo>
                    <a:lnTo>
                      <a:pt x="799" y="811"/>
                    </a:lnTo>
                    <a:lnTo>
                      <a:pt x="795" y="819"/>
                    </a:lnTo>
                    <a:lnTo>
                      <a:pt x="795" y="831"/>
                    </a:lnTo>
                    <a:lnTo>
                      <a:pt x="791" y="831"/>
                    </a:lnTo>
                    <a:lnTo>
                      <a:pt x="783" y="831"/>
                    </a:lnTo>
                    <a:lnTo>
                      <a:pt x="747" y="819"/>
                    </a:lnTo>
                    <a:lnTo>
                      <a:pt x="727" y="819"/>
                    </a:lnTo>
                    <a:lnTo>
                      <a:pt x="715" y="823"/>
                    </a:lnTo>
                    <a:lnTo>
                      <a:pt x="698" y="831"/>
                    </a:lnTo>
                    <a:lnTo>
                      <a:pt x="690" y="839"/>
                    </a:lnTo>
                    <a:lnTo>
                      <a:pt x="682" y="847"/>
                    </a:lnTo>
                    <a:lnTo>
                      <a:pt x="686" y="884"/>
                    </a:lnTo>
                    <a:lnTo>
                      <a:pt x="686" y="916"/>
                    </a:lnTo>
                    <a:lnTo>
                      <a:pt x="682" y="924"/>
                    </a:lnTo>
                    <a:lnTo>
                      <a:pt x="674" y="928"/>
                    </a:lnTo>
                    <a:lnTo>
                      <a:pt x="658" y="940"/>
                    </a:lnTo>
                    <a:lnTo>
                      <a:pt x="634" y="944"/>
                    </a:lnTo>
                    <a:lnTo>
                      <a:pt x="577" y="952"/>
                    </a:lnTo>
                    <a:lnTo>
                      <a:pt x="545" y="95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800" b="1">
                  <a:cs typeface="+mn-cs"/>
                </a:endParaRPr>
              </a:p>
            </p:txBody>
          </p:sp>
          <p:sp>
            <p:nvSpPr>
              <p:cNvPr id="30" name="Freeform 38"/>
              <p:cNvSpPr>
                <a:spLocks/>
              </p:cNvSpPr>
              <p:nvPr/>
            </p:nvSpPr>
            <p:spPr bwMode="auto">
              <a:xfrm>
                <a:off x="5818275" y="3490956"/>
                <a:ext cx="1003301" cy="951756"/>
              </a:xfrm>
              <a:custGeom>
                <a:avLst/>
                <a:gdLst>
                  <a:gd name="T0" fmla="*/ 2147483647 w 1118"/>
                  <a:gd name="T1" fmla="*/ 2147483647 h 1069"/>
                  <a:gd name="T2" fmla="*/ 2147483647 w 1118"/>
                  <a:gd name="T3" fmla="*/ 2147483647 h 1069"/>
                  <a:gd name="T4" fmla="*/ 2147483647 w 1118"/>
                  <a:gd name="T5" fmla="*/ 2147483647 h 1069"/>
                  <a:gd name="T6" fmla="*/ 2147483647 w 1118"/>
                  <a:gd name="T7" fmla="*/ 2147483647 h 1069"/>
                  <a:gd name="T8" fmla="*/ 2147483647 w 1118"/>
                  <a:gd name="T9" fmla="*/ 2147483647 h 1069"/>
                  <a:gd name="T10" fmla="*/ 2147483647 w 1118"/>
                  <a:gd name="T11" fmla="*/ 2147483647 h 1069"/>
                  <a:gd name="T12" fmla="*/ 2147483647 w 1118"/>
                  <a:gd name="T13" fmla="*/ 2147483647 h 1069"/>
                  <a:gd name="T14" fmla="*/ 2147483647 w 1118"/>
                  <a:gd name="T15" fmla="*/ 2147483647 h 1069"/>
                  <a:gd name="T16" fmla="*/ 2147483647 w 1118"/>
                  <a:gd name="T17" fmla="*/ 2147483647 h 1069"/>
                  <a:gd name="T18" fmla="*/ 2147483647 w 1118"/>
                  <a:gd name="T19" fmla="*/ 2147483647 h 1069"/>
                  <a:gd name="T20" fmla="*/ 2147483647 w 1118"/>
                  <a:gd name="T21" fmla="*/ 2147483647 h 1069"/>
                  <a:gd name="T22" fmla="*/ 2147483647 w 1118"/>
                  <a:gd name="T23" fmla="*/ 2147483647 h 1069"/>
                  <a:gd name="T24" fmla="*/ 2147483647 w 1118"/>
                  <a:gd name="T25" fmla="*/ 2147483647 h 1069"/>
                  <a:gd name="T26" fmla="*/ 2147483647 w 1118"/>
                  <a:gd name="T27" fmla="*/ 2147483647 h 1069"/>
                  <a:gd name="T28" fmla="*/ 2147483647 w 1118"/>
                  <a:gd name="T29" fmla="*/ 2147483647 h 1069"/>
                  <a:gd name="T30" fmla="*/ 2147483647 w 1118"/>
                  <a:gd name="T31" fmla="*/ 2147483647 h 1069"/>
                  <a:gd name="T32" fmla="*/ 2147483647 w 1118"/>
                  <a:gd name="T33" fmla="*/ 2147483647 h 1069"/>
                  <a:gd name="T34" fmla="*/ 2147483647 w 1118"/>
                  <a:gd name="T35" fmla="*/ 2147483647 h 1069"/>
                  <a:gd name="T36" fmla="*/ 2147483647 w 1118"/>
                  <a:gd name="T37" fmla="*/ 2147483647 h 1069"/>
                  <a:gd name="T38" fmla="*/ 2147483647 w 1118"/>
                  <a:gd name="T39" fmla="*/ 2147483647 h 1069"/>
                  <a:gd name="T40" fmla="*/ 2147483647 w 1118"/>
                  <a:gd name="T41" fmla="*/ 2147483647 h 1069"/>
                  <a:gd name="T42" fmla="*/ 2147483647 w 1118"/>
                  <a:gd name="T43" fmla="*/ 2147483647 h 1069"/>
                  <a:gd name="T44" fmla="*/ 2147483647 w 1118"/>
                  <a:gd name="T45" fmla="*/ 2147483647 h 1069"/>
                  <a:gd name="T46" fmla="*/ 2147483647 w 1118"/>
                  <a:gd name="T47" fmla="*/ 2147483647 h 1069"/>
                  <a:gd name="T48" fmla="*/ 2147483647 w 1118"/>
                  <a:gd name="T49" fmla="*/ 2147483647 h 1069"/>
                  <a:gd name="T50" fmla="*/ 2147483647 w 1118"/>
                  <a:gd name="T51" fmla="*/ 2147483647 h 1069"/>
                  <a:gd name="T52" fmla="*/ 2147483647 w 1118"/>
                  <a:gd name="T53" fmla="*/ 0 h 1069"/>
                  <a:gd name="T54" fmla="*/ 2147483647 w 1118"/>
                  <a:gd name="T55" fmla="*/ 2147483647 h 1069"/>
                  <a:gd name="T56" fmla="*/ 2147483647 w 1118"/>
                  <a:gd name="T57" fmla="*/ 2147483647 h 1069"/>
                  <a:gd name="T58" fmla="*/ 2147483647 w 1118"/>
                  <a:gd name="T59" fmla="*/ 2147483647 h 1069"/>
                  <a:gd name="T60" fmla="*/ 2147483647 w 1118"/>
                  <a:gd name="T61" fmla="*/ 2147483647 h 1069"/>
                  <a:gd name="T62" fmla="*/ 2147483647 w 1118"/>
                  <a:gd name="T63" fmla="*/ 2147483647 h 1069"/>
                  <a:gd name="T64" fmla="*/ 2147483647 w 1118"/>
                  <a:gd name="T65" fmla="*/ 2147483647 h 1069"/>
                  <a:gd name="T66" fmla="*/ 2147483647 w 1118"/>
                  <a:gd name="T67" fmla="*/ 2147483647 h 1069"/>
                  <a:gd name="T68" fmla="*/ 2147483647 w 1118"/>
                  <a:gd name="T69" fmla="*/ 2147483647 h 1069"/>
                  <a:gd name="T70" fmla="*/ 2147483647 w 1118"/>
                  <a:gd name="T71" fmla="*/ 2147483647 h 1069"/>
                  <a:gd name="T72" fmla="*/ 2147483647 w 1118"/>
                  <a:gd name="T73" fmla="*/ 2147483647 h 1069"/>
                  <a:gd name="T74" fmla="*/ 2147483647 w 1118"/>
                  <a:gd name="T75" fmla="*/ 2147483647 h 1069"/>
                  <a:gd name="T76" fmla="*/ 2147483647 w 1118"/>
                  <a:gd name="T77" fmla="*/ 2147483647 h 1069"/>
                  <a:gd name="T78" fmla="*/ 2147483647 w 1118"/>
                  <a:gd name="T79" fmla="*/ 2147483647 h 1069"/>
                  <a:gd name="T80" fmla="*/ 2147483647 w 1118"/>
                  <a:gd name="T81" fmla="*/ 2147483647 h 1069"/>
                  <a:gd name="T82" fmla="*/ 2147483647 w 1118"/>
                  <a:gd name="T83" fmla="*/ 2147483647 h 1069"/>
                  <a:gd name="T84" fmla="*/ 2147483647 w 1118"/>
                  <a:gd name="T85" fmla="*/ 2147483647 h 1069"/>
                  <a:gd name="T86" fmla="*/ 2147483647 w 1118"/>
                  <a:gd name="T87" fmla="*/ 2147483647 h 1069"/>
                  <a:gd name="T88" fmla="*/ 2147483647 w 1118"/>
                  <a:gd name="T89" fmla="*/ 2147483647 h 1069"/>
                  <a:gd name="T90" fmla="*/ 2147483647 w 1118"/>
                  <a:gd name="T91" fmla="*/ 2147483647 h 1069"/>
                  <a:gd name="T92" fmla="*/ 2147483647 w 1118"/>
                  <a:gd name="T93" fmla="*/ 2147483647 h 1069"/>
                  <a:gd name="T94" fmla="*/ 2147483647 w 1118"/>
                  <a:gd name="T95" fmla="*/ 2147483647 h 1069"/>
                  <a:gd name="T96" fmla="*/ 2147483647 w 1118"/>
                  <a:gd name="T97" fmla="*/ 2147483647 h 1069"/>
                  <a:gd name="T98" fmla="*/ 2147483647 w 1118"/>
                  <a:gd name="T99" fmla="*/ 2147483647 h 1069"/>
                  <a:gd name="T100" fmla="*/ 2147483647 w 1118"/>
                  <a:gd name="T101" fmla="*/ 2147483647 h 1069"/>
                  <a:gd name="T102" fmla="*/ 2147483647 w 1118"/>
                  <a:gd name="T103" fmla="*/ 2147483647 h 1069"/>
                  <a:gd name="T104" fmla="*/ 2147483647 w 1118"/>
                  <a:gd name="T105" fmla="*/ 2147483647 h 1069"/>
                  <a:gd name="T106" fmla="*/ 2147483647 w 1118"/>
                  <a:gd name="T107" fmla="*/ 2147483647 h 1069"/>
                  <a:gd name="T108" fmla="*/ 2147483647 w 1118"/>
                  <a:gd name="T109" fmla="*/ 2147483647 h 1069"/>
                  <a:gd name="T110" fmla="*/ 2147483647 w 1118"/>
                  <a:gd name="T111" fmla="*/ 2147483647 h 1069"/>
                  <a:gd name="T112" fmla="*/ 2147483647 w 1118"/>
                  <a:gd name="T113" fmla="*/ 2147483647 h 106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118"/>
                  <a:gd name="T172" fmla="*/ 0 h 1069"/>
                  <a:gd name="T173" fmla="*/ 1118 w 1118"/>
                  <a:gd name="T174" fmla="*/ 1069 h 106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118" h="1069">
                    <a:moveTo>
                      <a:pt x="505" y="1069"/>
                    </a:moveTo>
                    <a:lnTo>
                      <a:pt x="501" y="1061"/>
                    </a:lnTo>
                    <a:lnTo>
                      <a:pt x="497" y="1049"/>
                    </a:lnTo>
                    <a:lnTo>
                      <a:pt x="488" y="1045"/>
                    </a:lnTo>
                    <a:lnTo>
                      <a:pt x="476" y="1041"/>
                    </a:lnTo>
                    <a:lnTo>
                      <a:pt x="448" y="1041"/>
                    </a:lnTo>
                    <a:lnTo>
                      <a:pt x="416" y="1041"/>
                    </a:lnTo>
                    <a:lnTo>
                      <a:pt x="416" y="1045"/>
                    </a:lnTo>
                    <a:lnTo>
                      <a:pt x="412" y="1045"/>
                    </a:lnTo>
                    <a:lnTo>
                      <a:pt x="396" y="1045"/>
                    </a:lnTo>
                    <a:lnTo>
                      <a:pt x="380" y="1045"/>
                    </a:lnTo>
                    <a:lnTo>
                      <a:pt x="359" y="1057"/>
                    </a:lnTo>
                    <a:lnTo>
                      <a:pt x="343" y="1061"/>
                    </a:lnTo>
                    <a:lnTo>
                      <a:pt x="327" y="1061"/>
                    </a:lnTo>
                    <a:lnTo>
                      <a:pt x="311" y="1061"/>
                    </a:lnTo>
                    <a:lnTo>
                      <a:pt x="311" y="1041"/>
                    </a:lnTo>
                    <a:lnTo>
                      <a:pt x="311" y="1020"/>
                    </a:lnTo>
                    <a:lnTo>
                      <a:pt x="307" y="1000"/>
                    </a:lnTo>
                    <a:lnTo>
                      <a:pt x="307" y="992"/>
                    </a:lnTo>
                    <a:lnTo>
                      <a:pt x="279" y="992"/>
                    </a:lnTo>
                    <a:lnTo>
                      <a:pt x="263" y="992"/>
                    </a:lnTo>
                    <a:lnTo>
                      <a:pt x="246" y="996"/>
                    </a:lnTo>
                    <a:lnTo>
                      <a:pt x="234" y="1000"/>
                    </a:lnTo>
                    <a:lnTo>
                      <a:pt x="234" y="1004"/>
                    </a:lnTo>
                    <a:lnTo>
                      <a:pt x="230" y="1008"/>
                    </a:lnTo>
                    <a:lnTo>
                      <a:pt x="218" y="1012"/>
                    </a:lnTo>
                    <a:lnTo>
                      <a:pt x="210" y="1020"/>
                    </a:lnTo>
                    <a:lnTo>
                      <a:pt x="206" y="1041"/>
                    </a:lnTo>
                    <a:lnTo>
                      <a:pt x="198" y="1061"/>
                    </a:lnTo>
                    <a:lnTo>
                      <a:pt x="194" y="1061"/>
                    </a:lnTo>
                    <a:lnTo>
                      <a:pt x="178" y="1061"/>
                    </a:lnTo>
                    <a:lnTo>
                      <a:pt x="166" y="1061"/>
                    </a:lnTo>
                    <a:lnTo>
                      <a:pt x="150" y="1049"/>
                    </a:lnTo>
                    <a:lnTo>
                      <a:pt x="137" y="1037"/>
                    </a:lnTo>
                    <a:lnTo>
                      <a:pt x="121" y="1037"/>
                    </a:lnTo>
                    <a:lnTo>
                      <a:pt x="113" y="1032"/>
                    </a:lnTo>
                    <a:lnTo>
                      <a:pt x="113" y="1024"/>
                    </a:lnTo>
                    <a:lnTo>
                      <a:pt x="105" y="1020"/>
                    </a:lnTo>
                    <a:lnTo>
                      <a:pt x="105" y="1008"/>
                    </a:lnTo>
                    <a:lnTo>
                      <a:pt x="101" y="996"/>
                    </a:lnTo>
                    <a:lnTo>
                      <a:pt x="89" y="992"/>
                    </a:lnTo>
                    <a:lnTo>
                      <a:pt x="77" y="984"/>
                    </a:lnTo>
                    <a:lnTo>
                      <a:pt x="73" y="976"/>
                    </a:lnTo>
                    <a:lnTo>
                      <a:pt x="69" y="972"/>
                    </a:lnTo>
                    <a:lnTo>
                      <a:pt x="69" y="952"/>
                    </a:lnTo>
                    <a:lnTo>
                      <a:pt x="69" y="928"/>
                    </a:lnTo>
                    <a:lnTo>
                      <a:pt x="57" y="915"/>
                    </a:lnTo>
                    <a:lnTo>
                      <a:pt x="45" y="903"/>
                    </a:lnTo>
                    <a:lnTo>
                      <a:pt x="37" y="871"/>
                    </a:lnTo>
                    <a:lnTo>
                      <a:pt x="29" y="843"/>
                    </a:lnTo>
                    <a:lnTo>
                      <a:pt x="21" y="835"/>
                    </a:lnTo>
                    <a:lnTo>
                      <a:pt x="12" y="823"/>
                    </a:lnTo>
                    <a:lnTo>
                      <a:pt x="12" y="807"/>
                    </a:lnTo>
                    <a:lnTo>
                      <a:pt x="12" y="790"/>
                    </a:lnTo>
                    <a:lnTo>
                      <a:pt x="8" y="770"/>
                    </a:lnTo>
                    <a:lnTo>
                      <a:pt x="0" y="750"/>
                    </a:lnTo>
                    <a:lnTo>
                      <a:pt x="0" y="738"/>
                    </a:lnTo>
                    <a:lnTo>
                      <a:pt x="0" y="718"/>
                    </a:lnTo>
                    <a:lnTo>
                      <a:pt x="0" y="714"/>
                    </a:lnTo>
                    <a:lnTo>
                      <a:pt x="8" y="710"/>
                    </a:lnTo>
                    <a:lnTo>
                      <a:pt x="16" y="710"/>
                    </a:lnTo>
                    <a:lnTo>
                      <a:pt x="21" y="706"/>
                    </a:lnTo>
                    <a:lnTo>
                      <a:pt x="29" y="694"/>
                    </a:lnTo>
                    <a:lnTo>
                      <a:pt x="45" y="677"/>
                    </a:lnTo>
                    <a:lnTo>
                      <a:pt x="49" y="673"/>
                    </a:lnTo>
                    <a:lnTo>
                      <a:pt x="57" y="669"/>
                    </a:lnTo>
                    <a:lnTo>
                      <a:pt x="113" y="661"/>
                    </a:lnTo>
                    <a:lnTo>
                      <a:pt x="166" y="657"/>
                    </a:lnTo>
                    <a:lnTo>
                      <a:pt x="178" y="649"/>
                    </a:lnTo>
                    <a:lnTo>
                      <a:pt x="182" y="645"/>
                    </a:lnTo>
                    <a:lnTo>
                      <a:pt x="190" y="621"/>
                    </a:lnTo>
                    <a:lnTo>
                      <a:pt x="198" y="609"/>
                    </a:lnTo>
                    <a:lnTo>
                      <a:pt x="198" y="585"/>
                    </a:lnTo>
                    <a:lnTo>
                      <a:pt x="198" y="564"/>
                    </a:lnTo>
                    <a:lnTo>
                      <a:pt x="194" y="552"/>
                    </a:lnTo>
                    <a:lnTo>
                      <a:pt x="190" y="552"/>
                    </a:lnTo>
                    <a:lnTo>
                      <a:pt x="186" y="548"/>
                    </a:lnTo>
                    <a:lnTo>
                      <a:pt x="182" y="540"/>
                    </a:lnTo>
                    <a:lnTo>
                      <a:pt x="170" y="524"/>
                    </a:lnTo>
                    <a:lnTo>
                      <a:pt x="166" y="504"/>
                    </a:lnTo>
                    <a:lnTo>
                      <a:pt x="158" y="496"/>
                    </a:lnTo>
                    <a:lnTo>
                      <a:pt x="150" y="492"/>
                    </a:lnTo>
                    <a:lnTo>
                      <a:pt x="133" y="488"/>
                    </a:lnTo>
                    <a:lnTo>
                      <a:pt x="121" y="488"/>
                    </a:lnTo>
                    <a:lnTo>
                      <a:pt x="117" y="484"/>
                    </a:lnTo>
                    <a:lnTo>
                      <a:pt x="113" y="464"/>
                    </a:lnTo>
                    <a:lnTo>
                      <a:pt x="105" y="452"/>
                    </a:lnTo>
                    <a:lnTo>
                      <a:pt x="125" y="443"/>
                    </a:lnTo>
                    <a:lnTo>
                      <a:pt x="137" y="435"/>
                    </a:lnTo>
                    <a:lnTo>
                      <a:pt x="150" y="423"/>
                    </a:lnTo>
                    <a:lnTo>
                      <a:pt x="158" y="419"/>
                    </a:lnTo>
                    <a:lnTo>
                      <a:pt x="170" y="407"/>
                    </a:lnTo>
                    <a:lnTo>
                      <a:pt x="186" y="387"/>
                    </a:lnTo>
                    <a:lnTo>
                      <a:pt x="190" y="379"/>
                    </a:lnTo>
                    <a:lnTo>
                      <a:pt x="194" y="367"/>
                    </a:lnTo>
                    <a:lnTo>
                      <a:pt x="194" y="351"/>
                    </a:lnTo>
                    <a:lnTo>
                      <a:pt x="198" y="326"/>
                    </a:lnTo>
                    <a:lnTo>
                      <a:pt x="210" y="318"/>
                    </a:lnTo>
                    <a:lnTo>
                      <a:pt x="222" y="314"/>
                    </a:lnTo>
                    <a:lnTo>
                      <a:pt x="234" y="310"/>
                    </a:lnTo>
                    <a:lnTo>
                      <a:pt x="242" y="310"/>
                    </a:lnTo>
                    <a:lnTo>
                      <a:pt x="246" y="294"/>
                    </a:lnTo>
                    <a:lnTo>
                      <a:pt x="259" y="278"/>
                    </a:lnTo>
                    <a:lnTo>
                      <a:pt x="267" y="266"/>
                    </a:lnTo>
                    <a:lnTo>
                      <a:pt x="283" y="246"/>
                    </a:lnTo>
                    <a:lnTo>
                      <a:pt x="291" y="230"/>
                    </a:lnTo>
                    <a:lnTo>
                      <a:pt x="295" y="189"/>
                    </a:lnTo>
                    <a:lnTo>
                      <a:pt x="307" y="153"/>
                    </a:lnTo>
                    <a:lnTo>
                      <a:pt x="327" y="133"/>
                    </a:lnTo>
                    <a:lnTo>
                      <a:pt x="327" y="117"/>
                    </a:lnTo>
                    <a:lnTo>
                      <a:pt x="327" y="109"/>
                    </a:lnTo>
                    <a:lnTo>
                      <a:pt x="323" y="101"/>
                    </a:lnTo>
                    <a:lnTo>
                      <a:pt x="311" y="84"/>
                    </a:lnTo>
                    <a:lnTo>
                      <a:pt x="311" y="80"/>
                    </a:lnTo>
                    <a:lnTo>
                      <a:pt x="319" y="72"/>
                    </a:lnTo>
                    <a:lnTo>
                      <a:pt x="323" y="68"/>
                    </a:lnTo>
                    <a:lnTo>
                      <a:pt x="327" y="64"/>
                    </a:lnTo>
                    <a:lnTo>
                      <a:pt x="347" y="60"/>
                    </a:lnTo>
                    <a:lnTo>
                      <a:pt x="376" y="60"/>
                    </a:lnTo>
                    <a:lnTo>
                      <a:pt x="388" y="44"/>
                    </a:lnTo>
                    <a:lnTo>
                      <a:pt x="400" y="24"/>
                    </a:lnTo>
                    <a:lnTo>
                      <a:pt x="420" y="20"/>
                    </a:lnTo>
                    <a:lnTo>
                      <a:pt x="440" y="12"/>
                    </a:lnTo>
                    <a:lnTo>
                      <a:pt x="476" y="12"/>
                    </a:lnTo>
                    <a:lnTo>
                      <a:pt x="521" y="8"/>
                    </a:lnTo>
                    <a:lnTo>
                      <a:pt x="521" y="12"/>
                    </a:lnTo>
                    <a:lnTo>
                      <a:pt x="525" y="20"/>
                    </a:lnTo>
                    <a:lnTo>
                      <a:pt x="529" y="20"/>
                    </a:lnTo>
                    <a:lnTo>
                      <a:pt x="533" y="24"/>
                    </a:lnTo>
                    <a:lnTo>
                      <a:pt x="541" y="24"/>
                    </a:lnTo>
                    <a:lnTo>
                      <a:pt x="557" y="24"/>
                    </a:lnTo>
                    <a:lnTo>
                      <a:pt x="577" y="20"/>
                    </a:lnTo>
                    <a:lnTo>
                      <a:pt x="589" y="12"/>
                    </a:lnTo>
                    <a:lnTo>
                      <a:pt x="597" y="8"/>
                    </a:lnTo>
                    <a:lnTo>
                      <a:pt x="609" y="0"/>
                    </a:lnTo>
                    <a:lnTo>
                      <a:pt x="638" y="0"/>
                    </a:lnTo>
                    <a:lnTo>
                      <a:pt x="670" y="0"/>
                    </a:lnTo>
                    <a:lnTo>
                      <a:pt x="674" y="20"/>
                    </a:lnTo>
                    <a:lnTo>
                      <a:pt x="678" y="36"/>
                    </a:lnTo>
                    <a:lnTo>
                      <a:pt x="698" y="52"/>
                    </a:lnTo>
                    <a:lnTo>
                      <a:pt x="710" y="60"/>
                    </a:lnTo>
                    <a:lnTo>
                      <a:pt x="735" y="60"/>
                    </a:lnTo>
                    <a:lnTo>
                      <a:pt x="775" y="64"/>
                    </a:lnTo>
                    <a:lnTo>
                      <a:pt x="787" y="52"/>
                    </a:lnTo>
                    <a:lnTo>
                      <a:pt x="803" y="44"/>
                    </a:lnTo>
                    <a:lnTo>
                      <a:pt x="807" y="36"/>
                    </a:lnTo>
                    <a:lnTo>
                      <a:pt x="815" y="36"/>
                    </a:lnTo>
                    <a:lnTo>
                      <a:pt x="831" y="36"/>
                    </a:lnTo>
                    <a:lnTo>
                      <a:pt x="843" y="36"/>
                    </a:lnTo>
                    <a:lnTo>
                      <a:pt x="860" y="44"/>
                    </a:lnTo>
                    <a:lnTo>
                      <a:pt x="872" y="48"/>
                    </a:lnTo>
                    <a:lnTo>
                      <a:pt x="888" y="52"/>
                    </a:lnTo>
                    <a:lnTo>
                      <a:pt x="916" y="52"/>
                    </a:lnTo>
                    <a:lnTo>
                      <a:pt x="920" y="56"/>
                    </a:lnTo>
                    <a:lnTo>
                      <a:pt x="940" y="60"/>
                    </a:lnTo>
                    <a:lnTo>
                      <a:pt x="969" y="64"/>
                    </a:lnTo>
                    <a:lnTo>
                      <a:pt x="993" y="64"/>
                    </a:lnTo>
                    <a:lnTo>
                      <a:pt x="1017" y="60"/>
                    </a:lnTo>
                    <a:lnTo>
                      <a:pt x="1017" y="56"/>
                    </a:lnTo>
                    <a:lnTo>
                      <a:pt x="1021" y="52"/>
                    </a:lnTo>
                    <a:lnTo>
                      <a:pt x="1025" y="44"/>
                    </a:lnTo>
                    <a:lnTo>
                      <a:pt x="1029" y="36"/>
                    </a:lnTo>
                    <a:lnTo>
                      <a:pt x="1041" y="36"/>
                    </a:lnTo>
                    <a:lnTo>
                      <a:pt x="1045" y="36"/>
                    </a:lnTo>
                    <a:lnTo>
                      <a:pt x="1053" y="52"/>
                    </a:lnTo>
                    <a:lnTo>
                      <a:pt x="1057" y="64"/>
                    </a:lnTo>
                    <a:lnTo>
                      <a:pt x="1057" y="68"/>
                    </a:lnTo>
                    <a:lnTo>
                      <a:pt x="1061" y="68"/>
                    </a:lnTo>
                    <a:lnTo>
                      <a:pt x="1106" y="72"/>
                    </a:lnTo>
                    <a:lnTo>
                      <a:pt x="1118" y="76"/>
                    </a:lnTo>
                    <a:lnTo>
                      <a:pt x="1118" y="80"/>
                    </a:lnTo>
                    <a:lnTo>
                      <a:pt x="1118" y="84"/>
                    </a:lnTo>
                    <a:lnTo>
                      <a:pt x="1106" y="96"/>
                    </a:lnTo>
                    <a:lnTo>
                      <a:pt x="1102" y="109"/>
                    </a:lnTo>
                    <a:lnTo>
                      <a:pt x="1102" y="121"/>
                    </a:lnTo>
                    <a:lnTo>
                      <a:pt x="1098" y="137"/>
                    </a:lnTo>
                    <a:lnTo>
                      <a:pt x="1094" y="145"/>
                    </a:lnTo>
                    <a:lnTo>
                      <a:pt x="1077" y="145"/>
                    </a:lnTo>
                    <a:lnTo>
                      <a:pt x="1065" y="149"/>
                    </a:lnTo>
                    <a:lnTo>
                      <a:pt x="1061" y="153"/>
                    </a:lnTo>
                    <a:lnTo>
                      <a:pt x="1057" y="157"/>
                    </a:lnTo>
                    <a:lnTo>
                      <a:pt x="1057" y="169"/>
                    </a:lnTo>
                    <a:lnTo>
                      <a:pt x="1057" y="189"/>
                    </a:lnTo>
                    <a:lnTo>
                      <a:pt x="1065" y="197"/>
                    </a:lnTo>
                    <a:lnTo>
                      <a:pt x="1073" y="209"/>
                    </a:lnTo>
                    <a:lnTo>
                      <a:pt x="1073" y="222"/>
                    </a:lnTo>
                    <a:lnTo>
                      <a:pt x="1073" y="226"/>
                    </a:lnTo>
                    <a:lnTo>
                      <a:pt x="1065" y="238"/>
                    </a:lnTo>
                    <a:lnTo>
                      <a:pt x="1057" y="246"/>
                    </a:lnTo>
                    <a:lnTo>
                      <a:pt x="1057" y="258"/>
                    </a:lnTo>
                    <a:lnTo>
                      <a:pt x="1057" y="262"/>
                    </a:lnTo>
                    <a:lnTo>
                      <a:pt x="1065" y="274"/>
                    </a:lnTo>
                    <a:lnTo>
                      <a:pt x="1069" y="282"/>
                    </a:lnTo>
                    <a:lnTo>
                      <a:pt x="1069" y="306"/>
                    </a:lnTo>
                    <a:lnTo>
                      <a:pt x="1065" y="322"/>
                    </a:lnTo>
                    <a:lnTo>
                      <a:pt x="1053" y="335"/>
                    </a:lnTo>
                    <a:lnTo>
                      <a:pt x="1037" y="347"/>
                    </a:lnTo>
                    <a:lnTo>
                      <a:pt x="1041" y="355"/>
                    </a:lnTo>
                    <a:lnTo>
                      <a:pt x="1045" y="363"/>
                    </a:lnTo>
                    <a:lnTo>
                      <a:pt x="1045" y="367"/>
                    </a:lnTo>
                    <a:lnTo>
                      <a:pt x="1045" y="371"/>
                    </a:lnTo>
                    <a:lnTo>
                      <a:pt x="1037" y="379"/>
                    </a:lnTo>
                    <a:lnTo>
                      <a:pt x="1021" y="395"/>
                    </a:lnTo>
                    <a:lnTo>
                      <a:pt x="1021" y="399"/>
                    </a:lnTo>
                    <a:lnTo>
                      <a:pt x="1021" y="403"/>
                    </a:lnTo>
                    <a:lnTo>
                      <a:pt x="1009" y="415"/>
                    </a:lnTo>
                    <a:lnTo>
                      <a:pt x="993" y="423"/>
                    </a:lnTo>
                    <a:lnTo>
                      <a:pt x="993" y="456"/>
                    </a:lnTo>
                    <a:lnTo>
                      <a:pt x="993" y="488"/>
                    </a:lnTo>
                    <a:lnTo>
                      <a:pt x="993" y="496"/>
                    </a:lnTo>
                    <a:lnTo>
                      <a:pt x="993" y="512"/>
                    </a:lnTo>
                    <a:lnTo>
                      <a:pt x="1005" y="520"/>
                    </a:lnTo>
                    <a:lnTo>
                      <a:pt x="1013" y="532"/>
                    </a:lnTo>
                    <a:lnTo>
                      <a:pt x="1021" y="536"/>
                    </a:lnTo>
                    <a:lnTo>
                      <a:pt x="1029" y="548"/>
                    </a:lnTo>
                    <a:lnTo>
                      <a:pt x="1045" y="589"/>
                    </a:lnTo>
                    <a:lnTo>
                      <a:pt x="1057" y="609"/>
                    </a:lnTo>
                    <a:lnTo>
                      <a:pt x="1061" y="629"/>
                    </a:lnTo>
                    <a:lnTo>
                      <a:pt x="1061" y="653"/>
                    </a:lnTo>
                    <a:lnTo>
                      <a:pt x="1065" y="657"/>
                    </a:lnTo>
                    <a:lnTo>
                      <a:pt x="1065" y="661"/>
                    </a:lnTo>
                    <a:lnTo>
                      <a:pt x="1065" y="673"/>
                    </a:lnTo>
                    <a:lnTo>
                      <a:pt x="1057" y="706"/>
                    </a:lnTo>
                    <a:lnTo>
                      <a:pt x="1057" y="710"/>
                    </a:lnTo>
                    <a:lnTo>
                      <a:pt x="1053" y="754"/>
                    </a:lnTo>
                    <a:lnTo>
                      <a:pt x="1045" y="807"/>
                    </a:lnTo>
                    <a:lnTo>
                      <a:pt x="1053" y="815"/>
                    </a:lnTo>
                    <a:lnTo>
                      <a:pt x="1057" y="843"/>
                    </a:lnTo>
                    <a:lnTo>
                      <a:pt x="1057" y="867"/>
                    </a:lnTo>
                    <a:lnTo>
                      <a:pt x="1057" y="883"/>
                    </a:lnTo>
                    <a:lnTo>
                      <a:pt x="1057" y="887"/>
                    </a:lnTo>
                    <a:lnTo>
                      <a:pt x="1061" y="899"/>
                    </a:lnTo>
                    <a:lnTo>
                      <a:pt x="1065" y="907"/>
                    </a:lnTo>
                    <a:lnTo>
                      <a:pt x="1065" y="920"/>
                    </a:lnTo>
                    <a:lnTo>
                      <a:pt x="1061" y="924"/>
                    </a:lnTo>
                    <a:lnTo>
                      <a:pt x="1053" y="924"/>
                    </a:lnTo>
                    <a:lnTo>
                      <a:pt x="1037" y="924"/>
                    </a:lnTo>
                    <a:lnTo>
                      <a:pt x="1021" y="924"/>
                    </a:lnTo>
                    <a:lnTo>
                      <a:pt x="1013" y="928"/>
                    </a:lnTo>
                    <a:lnTo>
                      <a:pt x="1005" y="932"/>
                    </a:lnTo>
                    <a:lnTo>
                      <a:pt x="993" y="944"/>
                    </a:lnTo>
                    <a:lnTo>
                      <a:pt x="985" y="948"/>
                    </a:lnTo>
                    <a:lnTo>
                      <a:pt x="977" y="960"/>
                    </a:lnTo>
                    <a:lnTo>
                      <a:pt x="964" y="972"/>
                    </a:lnTo>
                    <a:lnTo>
                      <a:pt x="952" y="972"/>
                    </a:lnTo>
                    <a:lnTo>
                      <a:pt x="940" y="984"/>
                    </a:lnTo>
                    <a:lnTo>
                      <a:pt x="936" y="984"/>
                    </a:lnTo>
                    <a:lnTo>
                      <a:pt x="928" y="984"/>
                    </a:lnTo>
                    <a:lnTo>
                      <a:pt x="920" y="992"/>
                    </a:lnTo>
                    <a:lnTo>
                      <a:pt x="920" y="996"/>
                    </a:lnTo>
                    <a:lnTo>
                      <a:pt x="916" y="1000"/>
                    </a:lnTo>
                    <a:lnTo>
                      <a:pt x="904" y="1000"/>
                    </a:lnTo>
                    <a:lnTo>
                      <a:pt x="896" y="1004"/>
                    </a:lnTo>
                    <a:lnTo>
                      <a:pt x="888" y="1008"/>
                    </a:lnTo>
                    <a:lnTo>
                      <a:pt x="884" y="1012"/>
                    </a:lnTo>
                    <a:lnTo>
                      <a:pt x="884" y="1020"/>
                    </a:lnTo>
                    <a:lnTo>
                      <a:pt x="876" y="1032"/>
                    </a:lnTo>
                    <a:lnTo>
                      <a:pt x="868" y="1041"/>
                    </a:lnTo>
                    <a:lnTo>
                      <a:pt x="860" y="1045"/>
                    </a:lnTo>
                    <a:lnTo>
                      <a:pt x="843" y="1045"/>
                    </a:lnTo>
                    <a:lnTo>
                      <a:pt x="831" y="1045"/>
                    </a:lnTo>
                    <a:lnTo>
                      <a:pt x="807" y="1041"/>
                    </a:lnTo>
                    <a:lnTo>
                      <a:pt x="779" y="1037"/>
                    </a:lnTo>
                    <a:lnTo>
                      <a:pt x="775" y="1032"/>
                    </a:lnTo>
                    <a:lnTo>
                      <a:pt x="755" y="1020"/>
                    </a:lnTo>
                    <a:lnTo>
                      <a:pt x="739" y="1008"/>
                    </a:lnTo>
                    <a:lnTo>
                      <a:pt x="722" y="996"/>
                    </a:lnTo>
                    <a:lnTo>
                      <a:pt x="722" y="984"/>
                    </a:lnTo>
                    <a:lnTo>
                      <a:pt x="722" y="968"/>
                    </a:lnTo>
                    <a:lnTo>
                      <a:pt x="718" y="964"/>
                    </a:lnTo>
                    <a:lnTo>
                      <a:pt x="710" y="956"/>
                    </a:lnTo>
                    <a:lnTo>
                      <a:pt x="690" y="956"/>
                    </a:lnTo>
                    <a:lnTo>
                      <a:pt x="670" y="956"/>
                    </a:lnTo>
                    <a:lnTo>
                      <a:pt x="658" y="964"/>
                    </a:lnTo>
                    <a:lnTo>
                      <a:pt x="642" y="972"/>
                    </a:lnTo>
                    <a:lnTo>
                      <a:pt x="618" y="1000"/>
                    </a:lnTo>
                    <a:lnTo>
                      <a:pt x="589" y="1024"/>
                    </a:lnTo>
                    <a:lnTo>
                      <a:pt x="577" y="1037"/>
                    </a:lnTo>
                    <a:lnTo>
                      <a:pt x="569" y="1041"/>
                    </a:lnTo>
                    <a:lnTo>
                      <a:pt x="553" y="1045"/>
                    </a:lnTo>
                    <a:lnTo>
                      <a:pt x="533" y="1049"/>
                    </a:lnTo>
                    <a:lnTo>
                      <a:pt x="529" y="1061"/>
                    </a:lnTo>
                    <a:lnTo>
                      <a:pt x="525" y="1069"/>
                    </a:lnTo>
                    <a:lnTo>
                      <a:pt x="517" y="1069"/>
                    </a:lnTo>
                    <a:lnTo>
                      <a:pt x="505" y="106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31" name="Freeform 39"/>
              <p:cNvSpPr>
                <a:spLocks/>
              </p:cNvSpPr>
              <p:nvPr/>
            </p:nvSpPr>
            <p:spPr bwMode="auto">
              <a:xfrm>
                <a:off x="2133685" y="3512033"/>
                <a:ext cx="681038" cy="875551"/>
              </a:xfrm>
              <a:custGeom>
                <a:avLst/>
                <a:gdLst>
                  <a:gd name="T0" fmla="*/ 214726101 w 758"/>
                  <a:gd name="T1" fmla="*/ 743790731 h 984"/>
                  <a:gd name="T2" fmla="*/ 195352492 w 758"/>
                  <a:gd name="T3" fmla="*/ 704324135 h 984"/>
                  <a:gd name="T4" fmla="*/ 195352492 w 758"/>
                  <a:gd name="T5" fmla="*/ 683073227 h 984"/>
                  <a:gd name="T6" fmla="*/ 188894322 w 758"/>
                  <a:gd name="T7" fmla="*/ 648920012 h 984"/>
                  <a:gd name="T8" fmla="*/ 129965773 w 758"/>
                  <a:gd name="T9" fmla="*/ 627668232 h 984"/>
                  <a:gd name="T10" fmla="*/ 104133966 w 758"/>
                  <a:gd name="T11" fmla="*/ 609453416 h 984"/>
                  <a:gd name="T12" fmla="*/ 120278519 w 758"/>
                  <a:gd name="T13" fmla="*/ 532797513 h 984"/>
                  <a:gd name="T14" fmla="*/ 107363051 w 758"/>
                  <a:gd name="T15" fmla="*/ 495608205 h 984"/>
                  <a:gd name="T16" fmla="*/ 87989441 w 758"/>
                  <a:gd name="T17" fmla="*/ 456141501 h 984"/>
                  <a:gd name="T18" fmla="*/ 54892657 w 758"/>
                  <a:gd name="T19" fmla="*/ 397700413 h 984"/>
                  <a:gd name="T20" fmla="*/ 9687258 w 758"/>
                  <a:gd name="T21" fmla="*/ 370377319 h 984"/>
                  <a:gd name="T22" fmla="*/ 0 w 758"/>
                  <a:gd name="T23" fmla="*/ 336982909 h 984"/>
                  <a:gd name="T24" fmla="*/ 12915444 w 758"/>
                  <a:gd name="T25" fmla="*/ 318008417 h 984"/>
                  <a:gd name="T26" fmla="*/ 38747233 w 758"/>
                  <a:gd name="T27" fmla="*/ 275506600 h 984"/>
                  <a:gd name="T28" fmla="*/ 48434487 w 758"/>
                  <a:gd name="T29" fmla="*/ 260327006 h 984"/>
                  <a:gd name="T30" fmla="*/ 113821220 w 758"/>
                  <a:gd name="T31" fmla="*/ 248183505 h 984"/>
                  <a:gd name="T32" fmla="*/ 139653027 w 758"/>
                  <a:gd name="T33" fmla="*/ 220101551 h 984"/>
                  <a:gd name="T34" fmla="*/ 139653027 w 758"/>
                  <a:gd name="T35" fmla="*/ 168491455 h 984"/>
                  <a:gd name="T36" fmla="*/ 120278519 w 758"/>
                  <a:gd name="T37" fmla="*/ 150275768 h 984"/>
                  <a:gd name="T38" fmla="*/ 104133966 w 758"/>
                  <a:gd name="T39" fmla="*/ 143445648 h 984"/>
                  <a:gd name="T40" fmla="*/ 104133966 w 758"/>
                  <a:gd name="T41" fmla="*/ 122193868 h 984"/>
                  <a:gd name="T42" fmla="*/ 146110298 w 758"/>
                  <a:gd name="T43" fmla="*/ 119158646 h 984"/>
                  <a:gd name="T44" fmla="*/ 149339383 w 758"/>
                  <a:gd name="T45" fmla="*/ 94871617 h 984"/>
                  <a:gd name="T46" fmla="*/ 126736688 w 758"/>
                  <a:gd name="T47" fmla="*/ 64512430 h 984"/>
                  <a:gd name="T48" fmla="*/ 120278519 w 758"/>
                  <a:gd name="T49" fmla="*/ 54646203 h 984"/>
                  <a:gd name="T50" fmla="*/ 133194858 w 758"/>
                  <a:gd name="T51" fmla="*/ 42502702 h 984"/>
                  <a:gd name="T52" fmla="*/ 168712992 w 758"/>
                  <a:gd name="T53" fmla="*/ 27323101 h 984"/>
                  <a:gd name="T54" fmla="*/ 185665238 w 758"/>
                  <a:gd name="T55" fmla="*/ 0 h 984"/>
                  <a:gd name="T56" fmla="*/ 214726101 w 758"/>
                  <a:gd name="T57" fmla="*/ 6072188 h 984"/>
                  <a:gd name="T58" fmla="*/ 250244292 w 758"/>
                  <a:gd name="T59" fmla="*/ 15179601 h 984"/>
                  <a:gd name="T60" fmla="*/ 296257401 w 758"/>
                  <a:gd name="T61" fmla="*/ 24287008 h 984"/>
                  <a:gd name="T62" fmla="*/ 322089180 w 758"/>
                  <a:gd name="T63" fmla="*/ 54646203 h 984"/>
                  <a:gd name="T64" fmla="*/ 312401926 w 758"/>
                  <a:gd name="T65" fmla="*/ 73619837 h 984"/>
                  <a:gd name="T66" fmla="*/ 312401926 w 758"/>
                  <a:gd name="T67" fmla="*/ 143445648 h 984"/>
                  <a:gd name="T68" fmla="*/ 335004620 w 758"/>
                  <a:gd name="T69" fmla="*/ 183671049 h 984"/>
                  <a:gd name="T70" fmla="*/ 357607315 w 758"/>
                  <a:gd name="T71" fmla="*/ 207958050 h 984"/>
                  <a:gd name="T72" fmla="*/ 374559560 w 758"/>
                  <a:gd name="T73" fmla="*/ 223137644 h 984"/>
                  <a:gd name="T74" fmla="*/ 413307678 w 758"/>
                  <a:gd name="T75" fmla="*/ 260327006 h 984"/>
                  <a:gd name="T76" fmla="*/ 432681287 w 758"/>
                  <a:gd name="T77" fmla="*/ 278541822 h 984"/>
                  <a:gd name="T78" fmla="*/ 448825812 w 758"/>
                  <a:gd name="T79" fmla="*/ 299793602 h 984"/>
                  <a:gd name="T80" fmla="*/ 469007142 w 758"/>
                  <a:gd name="T81" fmla="*/ 340019002 h 984"/>
                  <a:gd name="T82" fmla="*/ 494839034 w 758"/>
                  <a:gd name="T83" fmla="*/ 406807821 h 984"/>
                  <a:gd name="T84" fmla="*/ 514212643 w 758"/>
                  <a:gd name="T85" fmla="*/ 453105408 h 984"/>
                  <a:gd name="T86" fmla="*/ 527128084 w 758"/>
                  <a:gd name="T87" fmla="*/ 480428612 h 984"/>
                  <a:gd name="T88" fmla="*/ 566683023 w 758"/>
                  <a:gd name="T89" fmla="*/ 486499926 h 984"/>
                  <a:gd name="T90" fmla="*/ 611888412 w 758"/>
                  <a:gd name="T91" fmla="*/ 551012329 h 984"/>
                  <a:gd name="T92" fmla="*/ 605430243 w 758"/>
                  <a:gd name="T93" fmla="*/ 581371516 h 984"/>
                  <a:gd name="T94" fmla="*/ 595743887 w 758"/>
                  <a:gd name="T95" fmla="*/ 594273823 h 984"/>
                  <a:gd name="T96" fmla="*/ 579598464 w 758"/>
                  <a:gd name="T97" fmla="*/ 587442831 h 984"/>
                  <a:gd name="T98" fmla="*/ 517441728 w 758"/>
                  <a:gd name="T99" fmla="*/ 594273823 h 984"/>
                  <a:gd name="T100" fmla="*/ 494839034 w 758"/>
                  <a:gd name="T101" fmla="*/ 606417323 h 984"/>
                  <a:gd name="T102" fmla="*/ 452054897 w 758"/>
                  <a:gd name="T103" fmla="*/ 642847826 h 984"/>
                  <a:gd name="T104" fmla="*/ 419764949 w 758"/>
                  <a:gd name="T105" fmla="*/ 654991327 h 984"/>
                  <a:gd name="T106" fmla="*/ 384246814 w 758"/>
                  <a:gd name="T107" fmla="*/ 670170920 h 984"/>
                  <a:gd name="T108" fmla="*/ 328547350 w 758"/>
                  <a:gd name="T109" fmla="*/ 701288913 h 984"/>
                  <a:gd name="T110" fmla="*/ 286570147 w 758"/>
                  <a:gd name="T111" fmla="*/ 725575915 h 984"/>
                  <a:gd name="T112" fmla="*/ 250244292 w 758"/>
                  <a:gd name="T113" fmla="*/ 746826824 h 98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58"/>
                  <a:gd name="T172" fmla="*/ 0 h 984"/>
                  <a:gd name="T173" fmla="*/ 758 w 758"/>
                  <a:gd name="T174" fmla="*/ 984 h 98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58" h="984">
                    <a:moveTo>
                      <a:pt x="290" y="984"/>
                    </a:moveTo>
                    <a:lnTo>
                      <a:pt x="282" y="980"/>
                    </a:lnTo>
                    <a:lnTo>
                      <a:pt x="266" y="980"/>
                    </a:lnTo>
                    <a:lnTo>
                      <a:pt x="254" y="960"/>
                    </a:lnTo>
                    <a:lnTo>
                      <a:pt x="242" y="948"/>
                    </a:lnTo>
                    <a:lnTo>
                      <a:pt x="242" y="928"/>
                    </a:lnTo>
                    <a:lnTo>
                      <a:pt x="242" y="908"/>
                    </a:lnTo>
                    <a:lnTo>
                      <a:pt x="242" y="904"/>
                    </a:lnTo>
                    <a:lnTo>
                      <a:pt x="242" y="900"/>
                    </a:lnTo>
                    <a:lnTo>
                      <a:pt x="242" y="891"/>
                    </a:lnTo>
                    <a:lnTo>
                      <a:pt x="238" y="875"/>
                    </a:lnTo>
                    <a:lnTo>
                      <a:pt x="234" y="855"/>
                    </a:lnTo>
                    <a:lnTo>
                      <a:pt x="217" y="847"/>
                    </a:lnTo>
                    <a:lnTo>
                      <a:pt x="205" y="839"/>
                    </a:lnTo>
                    <a:lnTo>
                      <a:pt x="161" y="827"/>
                    </a:lnTo>
                    <a:lnTo>
                      <a:pt x="129" y="819"/>
                    </a:lnTo>
                    <a:lnTo>
                      <a:pt x="129" y="811"/>
                    </a:lnTo>
                    <a:lnTo>
                      <a:pt x="129" y="803"/>
                    </a:lnTo>
                    <a:lnTo>
                      <a:pt x="137" y="770"/>
                    </a:lnTo>
                    <a:lnTo>
                      <a:pt x="149" y="714"/>
                    </a:lnTo>
                    <a:lnTo>
                      <a:pt x="149" y="702"/>
                    </a:lnTo>
                    <a:lnTo>
                      <a:pt x="149" y="690"/>
                    </a:lnTo>
                    <a:lnTo>
                      <a:pt x="141" y="678"/>
                    </a:lnTo>
                    <a:lnTo>
                      <a:pt x="133" y="653"/>
                    </a:lnTo>
                    <a:lnTo>
                      <a:pt x="125" y="637"/>
                    </a:lnTo>
                    <a:lnTo>
                      <a:pt x="113" y="625"/>
                    </a:lnTo>
                    <a:lnTo>
                      <a:pt x="109" y="601"/>
                    </a:lnTo>
                    <a:lnTo>
                      <a:pt x="109" y="585"/>
                    </a:lnTo>
                    <a:lnTo>
                      <a:pt x="84" y="549"/>
                    </a:lnTo>
                    <a:lnTo>
                      <a:pt x="68" y="524"/>
                    </a:lnTo>
                    <a:lnTo>
                      <a:pt x="52" y="520"/>
                    </a:lnTo>
                    <a:lnTo>
                      <a:pt x="16" y="500"/>
                    </a:lnTo>
                    <a:lnTo>
                      <a:pt x="12" y="488"/>
                    </a:lnTo>
                    <a:lnTo>
                      <a:pt x="0" y="476"/>
                    </a:lnTo>
                    <a:lnTo>
                      <a:pt x="0" y="456"/>
                    </a:lnTo>
                    <a:lnTo>
                      <a:pt x="0" y="444"/>
                    </a:lnTo>
                    <a:lnTo>
                      <a:pt x="8" y="440"/>
                    </a:lnTo>
                    <a:lnTo>
                      <a:pt x="12" y="436"/>
                    </a:lnTo>
                    <a:lnTo>
                      <a:pt x="16" y="419"/>
                    </a:lnTo>
                    <a:lnTo>
                      <a:pt x="20" y="399"/>
                    </a:lnTo>
                    <a:lnTo>
                      <a:pt x="36" y="383"/>
                    </a:lnTo>
                    <a:lnTo>
                      <a:pt x="48" y="363"/>
                    </a:lnTo>
                    <a:lnTo>
                      <a:pt x="48" y="355"/>
                    </a:lnTo>
                    <a:lnTo>
                      <a:pt x="52" y="343"/>
                    </a:lnTo>
                    <a:lnTo>
                      <a:pt x="60" y="343"/>
                    </a:lnTo>
                    <a:lnTo>
                      <a:pt x="72" y="331"/>
                    </a:lnTo>
                    <a:lnTo>
                      <a:pt x="125" y="327"/>
                    </a:lnTo>
                    <a:lnTo>
                      <a:pt x="141" y="327"/>
                    </a:lnTo>
                    <a:lnTo>
                      <a:pt x="157" y="306"/>
                    </a:lnTo>
                    <a:lnTo>
                      <a:pt x="173" y="294"/>
                    </a:lnTo>
                    <a:lnTo>
                      <a:pt x="173" y="290"/>
                    </a:lnTo>
                    <a:lnTo>
                      <a:pt x="173" y="282"/>
                    </a:lnTo>
                    <a:lnTo>
                      <a:pt x="173" y="250"/>
                    </a:lnTo>
                    <a:lnTo>
                      <a:pt x="173" y="222"/>
                    </a:lnTo>
                    <a:lnTo>
                      <a:pt x="165" y="206"/>
                    </a:lnTo>
                    <a:lnTo>
                      <a:pt x="161" y="198"/>
                    </a:lnTo>
                    <a:lnTo>
                      <a:pt x="149" y="198"/>
                    </a:lnTo>
                    <a:lnTo>
                      <a:pt x="137" y="194"/>
                    </a:lnTo>
                    <a:lnTo>
                      <a:pt x="133" y="189"/>
                    </a:lnTo>
                    <a:lnTo>
                      <a:pt x="129" y="189"/>
                    </a:lnTo>
                    <a:lnTo>
                      <a:pt x="125" y="177"/>
                    </a:lnTo>
                    <a:lnTo>
                      <a:pt x="125" y="165"/>
                    </a:lnTo>
                    <a:lnTo>
                      <a:pt x="129" y="161"/>
                    </a:lnTo>
                    <a:lnTo>
                      <a:pt x="137" y="157"/>
                    </a:lnTo>
                    <a:lnTo>
                      <a:pt x="157" y="157"/>
                    </a:lnTo>
                    <a:lnTo>
                      <a:pt x="181" y="157"/>
                    </a:lnTo>
                    <a:lnTo>
                      <a:pt x="181" y="153"/>
                    </a:lnTo>
                    <a:lnTo>
                      <a:pt x="185" y="145"/>
                    </a:lnTo>
                    <a:lnTo>
                      <a:pt x="185" y="125"/>
                    </a:lnTo>
                    <a:lnTo>
                      <a:pt x="181" y="113"/>
                    </a:lnTo>
                    <a:lnTo>
                      <a:pt x="165" y="97"/>
                    </a:lnTo>
                    <a:lnTo>
                      <a:pt x="157" y="85"/>
                    </a:lnTo>
                    <a:lnTo>
                      <a:pt x="153" y="85"/>
                    </a:lnTo>
                    <a:lnTo>
                      <a:pt x="141" y="85"/>
                    </a:lnTo>
                    <a:lnTo>
                      <a:pt x="149" y="72"/>
                    </a:lnTo>
                    <a:lnTo>
                      <a:pt x="153" y="60"/>
                    </a:lnTo>
                    <a:lnTo>
                      <a:pt x="157" y="60"/>
                    </a:lnTo>
                    <a:lnTo>
                      <a:pt x="165" y="56"/>
                    </a:lnTo>
                    <a:lnTo>
                      <a:pt x="185" y="56"/>
                    </a:lnTo>
                    <a:lnTo>
                      <a:pt x="205" y="48"/>
                    </a:lnTo>
                    <a:lnTo>
                      <a:pt x="209" y="36"/>
                    </a:lnTo>
                    <a:lnTo>
                      <a:pt x="213" y="32"/>
                    </a:lnTo>
                    <a:lnTo>
                      <a:pt x="217" y="20"/>
                    </a:lnTo>
                    <a:lnTo>
                      <a:pt x="230" y="0"/>
                    </a:lnTo>
                    <a:lnTo>
                      <a:pt x="242" y="0"/>
                    </a:lnTo>
                    <a:lnTo>
                      <a:pt x="254" y="0"/>
                    </a:lnTo>
                    <a:lnTo>
                      <a:pt x="266" y="8"/>
                    </a:lnTo>
                    <a:lnTo>
                      <a:pt x="278" y="8"/>
                    </a:lnTo>
                    <a:lnTo>
                      <a:pt x="294" y="12"/>
                    </a:lnTo>
                    <a:lnTo>
                      <a:pt x="310" y="20"/>
                    </a:lnTo>
                    <a:lnTo>
                      <a:pt x="322" y="24"/>
                    </a:lnTo>
                    <a:lnTo>
                      <a:pt x="334" y="32"/>
                    </a:lnTo>
                    <a:lnTo>
                      <a:pt x="367" y="32"/>
                    </a:lnTo>
                    <a:lnTo>
                      <a:pt x="399" y="32"/>
                    </a:lnTo>
                    <a:lnTo>
                      <a:pt x="399" y="56"/>
                    </a:lnTo>
                    <a:lnTo>
                      <a:pt x="399" y="72"/>
                    </a:lnTo>
                    <a:lnTo>
                      <a:pt x="395" y="77"/>
                    </a:lnTo>
                    <a:lnTo>
                      <a:pt x="387" y="85"/>
                    </a:lnTo>
                    <a:lnTo>
                      <a:pt x="387" y="97"/>
                    </a:lnTo>
                    <a:lnTo>
                      <a:pt x="387" y="109"/>
                    </a:lnTo>
                    <a:lnTo>
                      <a:pt x="387" y="149"/>
                    </a:lnTo>
                    <a:lnTo>
                      <a:pt x="387" y="189"/>
                    </a:lnTo>
                    <a:lnTo>
                      <a:pt x="395" y="206"/>
                    </a:lnTo>
                    <a:lnTo>
                      <a:pt x="399" y="222"/>
                    </a:lnTo>
                    <a:lnTo>
                      <a:pt x="415" y="242"/>
                    </a:lnTo>
                    <a:lnTo>
                      <a:pt x="435" y="254"/>
                    </a:lnTo>
                    <a:lnTo>
                      <a:pt x="439" y="266"/>
                    </a:lnTo>
                    <a:lnTo>
                      <a:pt x="443" y="274"/>
                    </a:lnTo>
                    <a:lnTo>
                      <a:pt x="447" y="278"/>
                    </a:lnTo>
                    <a:lnTo>
                      <a:pt x="460" y="290"/>
                    </a:lnTo>
                    <a:lnTo>
                      <a:pt x="464" y="294"/>
                    </a:lnTo>
                    <a:lnTo>
                      <a:pt x="468" y="306"/>
                    </a:lnTo>
                    <a:lnTo>
                      <a:pt x="492" y="327"/>
                    </a:lnTo>
                    <a:lnTo>
                      <a:pt x="512" y="343"/>
                    </a:lnTo>
                    <a:lnTo>
                      <a:pt x="520" y="355"/>
                    </a:lnTo>
                    <a:lnTo>
                      <a:pt x="524" y="363"/>
                    </a:lnTo>
                    <a:lnTo>
                      <a:pt x="536" y="367"/>
                    </a:lnTo>
                    <a:lnTo>
                      <a:pt x="540" y="379"/>
                    </a:lnTo>
                    <a:lnTo>
                      <a:pt x="548" y="387"/>
                    </a:lnTo>
                    <a:lnTo>
                      <a:pt x="556" y="395"/>
                    </a:lnTo>
                    <a:lnTo>
                      <a:pt x="564" y="407"/>
                    </a:lnTo>
                    <a:lnTo>
                      <a:pt x="581" y="428"/>
                    </a:lnTo>
                    <a:lnTo>
                      <a:pt x="581" y="448"/>
                    </a:lnTo>
                    <a:lnTo>
                      <a:pt x="581" y="464"/>
                    </a:lnTo>
                    <a:lnTo>
                      <a:pt x="601" y="500"/>
                    </a:lnTo>
                    <a:lnTo>
                      <a:pt x="613" y="536"/>
                    </a:lnTo>
                    <a:lnTo>
                      <a:pt x="625" y="565"/>
                    </a:lnTo>
                    <a:lnTo>
                      <a:pt x="633" y="597"/>
                    </a:lnTo>
                    <a:lnTo>
                      <a:pt x="637" y="597"/>
                    </a:lnTo>
                    <a:lnTo>
                      <a:pt x="641" y="613"/>
                    </a:lnTo>
                    <a:lnTo>
                      <a:pt x="641" y="629"/>
                    </a:lnTo>
                    <a:lnTo>
                      <a:pt x="653" y="633"/>
                    </a:lnTo>
                    <a:lnTo>
                      <a:pt x="661" y="637"/>
                    </a:lnTo>
                    <a:lnTo>
                      <a:pt x="681" y="641"/>
                    </a:lnTo>
                    <a:lnTo>
                      <a:pt x="702" y="641"/>
                    </a:lnTo>
                    <a:lnTo>
                      <a:pt x="734" y="670"/>
                    </a:lnTo>
                    <a:lnTo>
                      <a:pt x="754" y="698"/>
                    </a:lnTo>
                    <a:lnTo>
                      <a:pt x="758" y="726"/>
                    </a:lnTo>
                    <a:lnTo>
                      <a:pt x="758" y="754"/>
                    </a:lnTo>
                    <a:lnTo>
                      <a:pt x="754" y="762"/>
                    </a:lnTo>
                    <a:lnTo>
                      <a:pt x="750" y="766"/>
                    </a:lnTo>
                    <a:lnTo>
                      <a:pt x="746" y="774"/>
                    </a:lnTo>
                    <a:lnTo>
                      <a:pt x="742" y="783"/>
                    </a:lnTo>
                    <a:lnTo>
                      <a:pt x="738" y="783"/>
                    </a:lnTo>
                    <a:lnTo>
                      <a:pt x="734" y="783"/>
                    </a:lnTo>
                    <a:lnTo>
                      <a:pt x="730" y="779"/>
                    </a:lnTo>
                    <a:lnTo>
                      <a:pt x="718" y="774"/>
                    </a:lnTo>
                    <a:lnTo>
                      <a:pt x="698" y="770"/>
                    </a:lnTo>
                    <a:lnTo>
                      <a:pt x="665" y="770"/>
                    </a:lnTo>
                    <a:lnTo>
                      <a:pt x="641" y="783"/>
                    </a:lnTo>
                    <a:lnTo>
                      <a:pt x="625" y="791"/>
                    </a:lnTo>
                    <a:lnTo>
                      <a:pt x="617" y="799"/>
                    </a:lnTo>
                    <a:lnTo>
                      <a:pt x="613" y="799"/>
                    </a:lnTo>
                    <a:lnTo>
                      <a:pt x="593" y="815"/>
                    </a:lnTo>
                    <a:lnTo>
                      <a:pt x="581" y="831"/>
                    </a:lnTo>
                    <a:lnTo>
                      <a:pt x="560" y="847"/>
                    </a:lnTo>
                    <a:lnTo>
                      <a:pt x="548" y="859"/>
                    </a:lnTo>
                    <a:lnTo>
                      <a:pt x="536" y="859"/>
                    </a:lnTo>
                    <a:lnTo>
                      <a:pt x="520" y="863"/>
                    </a:lnTo>
                    <a:lnTo>
                      <a:pt x="512" y="875"/>
                    </a:lnTo>
                    <a:lnTo>
                      <a:pt x="500" y="879"/>
                    </a:lnTo>
                    <a:lnTo>
                      <a:pt x="476" y="883"/>
                    </a:lnTo>
                    <a:lnTo>
                      <a:pt x="451" y="887"/>
                    </a:lnTo>
                    <a:lnTo>
                      <a:pt x="431" y="904"/>
                    </a:lnTo>
                    <a:lnTo>
                      <a:pt x="407" y="924"/>
                    </a:lnTo>
                    <a:lnTo>
                      <a:pt x="395" y="932"/>
                    </a:lnTo>
                    <a:lnTo>
                      <a:pt x="379" y="940"/>
                    </a:lnTo>
                    <a:lnTo>
                      <a:pt x="355" y="956"/>
                    </a:lnTo>
                    <a:lnTo>
                      <a:pt x="330" y="980"/>
                    </a:lnTo>
                    <a:lnTo>
                      <a:pt x="322" y="980"/>
                    </a:lnTo>
                    <a:lnTo>
                      <a:pt x="310" y="984"/>
                    </a:lnTo>
                    <a:lnTo>
                      <a:pt x="302" y="984"/>
                    </a:lnTo>
                    <a:lnTo>
                      <a:pt x="290" y="984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32" name="Freeform 40"/>
              <p:cNvSpPr>
                <a:spLocks/>
              </p:cNvSpPr>
              <p:nvPr/>
            </p:nvSpPr>
            <p:spPr bwMode="auto">
              <a:xfrm>
                <a:off x="4976899" y="3095336"/>
                <a:ext cx="1309689" cy="1238743"/>
              </a:xfrm>
              <a:custGeom>
                <a:avLst/>
                <a:gdLst>
                  <a:gd name="T0" fmla="*/ 597118874 w 1457"/>
                  <a:gd name="T1" fmla="*/ 1035500384 h 1392"/>
                  <a:gd name="T2" fmla="*/ 563991060 w 1457"/>
                  <a:gd name="T3" fmla="*/ 1001337583 h 1392"/>
                  <a:gd name="T4" fmla="*/ 626207961 w 1457"/>
                  <a:gd name="T5" fmla="*/ 980081349 h 1392"/>
                  <a:gd name="T6" fmla="*/ 626207961 w 1457"/>
                  <a:gd name="T7" fmla="*/ 891259068 h 1392"/>
                  <a:gd name="T8" fmla="*/ 610047657 w 1457"/>
                  <a:gd name="T9" fmla="*/ 790290212 h 1392"/>
                  <a:gd name="T10" fmla="*/ 570455002 w 1457"/>
                  <a:gd name="T11" fmla="*/ 769033107 h 1392"/>
                  <a:gd name="T12" fmla="*/ 499349844 w 1457"/>
                  <a:gd name="T13" fmla="*/ 781179900 h 1392"/>
                  <a:gd name="T14" fmla="*/ 381380771 w 1457"/>
                  <a:gd name="T15" fmla="*/ 762200372 h 1392"/>
                  <a:gd name="T16" fmla="*/ 313508033 w 1457"/>
                  <a:gd name="T17" fmla="*/ 775106068 h 1392"/>
                  <a:gd name="T18" fmla="*/ 277147798 w 1457"/>
                  <a:gd name="T19" fmla="*/ 790290212 h 1392"/>
                  <a:gd name="T20" fmla="*/ 231898352 w 1457"/>
                  <a:gd name="T21" fmla="*/ 802437005 h 1392"/>
                  <a:gd name="T22" fmla="*/ 163218408 w 1457"/>
                  <a:gd name="T23" fmla="*/ 844949474 h 1392"/>
                  <a:gd name="T24" fmla="*/ 105041105 w 1457"/>
                  <a:gd name="T25" fmla="*/ 860892521 h 1392"/>
                  <a:gd name="T26" fmla="*/ 68680871 w 1457"/>
                  <a:gd name="T27" fmla="*/ 829766201 h 1392"/>
                  <a:gd name="T28" fmla="*/ 0 w 1457"/>
                  <a:gd name="T29" fmla="*/ 796363173 h 1392"/>
                  <a:gd name="T30" fmla="*/ 49289031 w 1457"/>
                  <a:gd name="T31" fmla="*/ 713614071 h 1392"/>
                  <a:gd name="T32" fmla="*/ 97769058 w 1457"/>
                  <a:gd name="T33" fmla="*/ 649085595 h 1392"/>
                  <a:gd name="T34" fmla="*/ 150289625 w 1457"/>
                  <a:gd name="T35" fmla="*/ 587592727 h 1392"/>
                  <a:gd name="T36" fmla="*/ 189074175 w 1457"/>
                  <a:gd name="T37" fmla="*/ 597461942 h 1392"/>
                  <a:gd name="T38" fmla="*/ 231898352 w 1457"/>
                  <a:gd name="T39" fmla="*/ 548116739 h 1392"/>
                  <a:gd name="T40" fmla="*/ 222202888 w 1457"/>
                  <a:gd name="T41" fmla="*/ 489661223 h 1392"/>
                  <a:gd name="T42" fmla="*/ 283611740 w 1457"/>
                  <a:gd name="T43" fmla="*/ 459294676 h 1392"/>
                  <a:gd name="T44" fmla="*/ 345827742 w 1457"/>
                  <a:gd name="T45" fmla="*/ 450184255 h 1392"/>
                  <a:gd name="T46" fmla="*/ 475917493 w 1457"/>
                  <a:gd name="T47" fmla="*/ 459294676 h 1392"/>
                  <a:gd name="T48" fmla="*/ 560758640 w 1457"/>
                  <a:gd name="T49" fmla="*/ 391728739 h 1392"/>
                  <a:gd name="T50" fmla="*/ 576918944 w 1457"/>
                  <a:gd name="T51" fmla="*/ 337068606 h 1392"/>
                  <a:gd name="T52" fmla="*/ 626207961 w 1457"/>
                  <a:gd name="T53" fmla="*/ 296832844 h 1392"/>
                  <a:gd name="T54" fmla="*/ 642367366 w 1457"/>
                  <a:gd name="T55" fmla="*/ 217121040 h 1392"/>
                  <a:gd name="T56" fmla="*/ 685192441 w 1457"/>
                  <a:gd name="T57" fmla="*/ 198901286 h 1392"/>
                  <a:gd name="T58" fmla="*/ 736904875 w 1457"/>
                  <a:gd name="T59" fmla="*/ 156387946 h 1392"/>
                  <a:gd name="T60" fmla="*/ 805585718 w 1457"/>
                  <a:gd name="T61" fmla="*/ 116152184 h 1392"/>
                  <a:gd name="T62" fmla="*/ 863762093 w 1457"/>
                  <a:gd name="T63" fmla="*/ 51622795 h 1392"/>
                  <a:gd name="T64" fmla="*/ 955067406 w 1457"/>
                  <a:gd name="T65" fmla="*/ 51622795 h 1392"/>
                  <a:gd name="T66" fmla="*/ 1036677032 w 1457"/>
                  <a:gd name="T67" fmla="*/ 39476873 h 1392"/>
                  <a:gd name="T68" fmla="*/ 1089197570 w 1457"/>
                  <a:gd name="T69" fmla="*/ 3036481 h 1392"/>
                  <a:gd name="T70" fmla="*/ 1124749700 w 1457"/>
                  <a:gd name="T71" fmla="*/ 15183280 h 1392"/>
                  <a:gd name="T72" fmla="*/ 1111821816 w 1457"/>
                  <a:gd name="T73" fmla="*/ 61492023 h 1392"/>
                  <a:gd name="T74" fmla="*/ 1127982120 w 1457"/>
                  <a:gd name="T75" fmla="*/ 125262496 h 1392"/>
                  <a:gd name="T76" fmla="*/ 1170806297 w 1457"/>
                  <a:gd name="T77" fmla="*/ 168534739 h 1392"/>
                  <a:gd name="T78" fmla="*/ 1157878413 w 1457"/>
                  <a:gd name="T79" fmla="*/ 217121040 h 1392"/>
                  <a:gd name="T80" fmla="*/ 1046372495 w 1457"/>
                  <a:gd name="T81" fmla="*/ 236099750 h 1392"/>
                  <a:gd name="T82" fmla="*/ 1033444611 w 1457"/>
                  <a:gd name="T83" fmla="*/ 318089950 h 1392"/>
                  <a:gd name="T84" fmla="*/ 1049604915 w 1457"/>
                  <a:gd name="T85" fmla="*/ 352251879 h 1392"/>
                  <a:gd name="T86" fmla="*/ 1007587945 w 1457"/>
                  <a:gd name="T87" fmla="*/ 370471633 h 1392"/>
                  <a:gd name="T88" fmla="*/ 1007587945 w 1457"/>
                  <a:gd name="T89" fmla="*/ 422854188 h 1392"/>
                  <a:gd name="T90" fmla="*/ 981732178 w 1457"/>
                  <a:gd name="T91" fmla="*/ 474477950 h 1392"/>
                  <a:gd name="T92" fmla="*/ 942139298 w 1457"/>
                  <a:gd name="T93" fmla="*/ 548116739 h 1392"/>
                  <a:gd name="T94" fmla="*/ 883962923 w 1457"/>
                  <a:gd name="T95" fmla="*/ 639975282 h 1392"/>
                  <a:gd name="T96" fmla="*/ 828209964 w 1457"/>
                  <a:gd name="T97" fmla="*/ 661231517 h 1392"/>
                  <a:gd name="T98" fmla="*/ 834673905 w 1457"/>
                  <a:gd name="T99" fmla="*/ 707541111 h 1392"/>
                  <a:gd name="T100" fmla="*/ 893658386 w 1457"/>
                  <a:gd name="T101" fmla="*/ 762200372 h 1392"/>
                  <a:gd name="T102" fmla="*/ 903354748 w 1457"/>
                  <a:gd name="T103" fmla="*/ 805473486 h 1392"/>
                  <a:gd name="T104" fmla="*/ 834673905 w 1457"/>
                  <a:gd name="T105" fmla="*/ 829766201 h 1392"/>
                  <a:gd name="T106" fmla="*/ 743368817 w 1457"/>
                  <a:gd name="T107" fmla="*/ 863929002 h 1392"/>
                  <a:gd name="T108" fmla="*/ 743368817 w 1457"/>
                  <a:gd name="T109" fmla="*/ 921625833 h 1392"/>
                  <a:gd name="T110" fmla="*/ 756296700 w 1457"/>
                  <a:gd name="T111" fmla="*/ 986154310 h 1392"/>
                  <a:gd name="T112" fmla="*/ 765993063 w 1457"/>
                  <a:gd name="T113" fmla="*/ 1031704130 h 1392"/>
                  <a:gd name="T114" fmla="*/ 698120325 w 1457"/>
                  <a:gd name="T115" fmla="*/ 1056756618 h 139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457"/>
                  <a:gd name="T175" fmla="*/ 0 h 1392"/>
                  <a:gd name="T176" fmla="*/ 1457 w 1457"/>
                  <a:gd name="T177" fmla="*/ 1392 h 139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457" h="1392">
                    <a:moveTo>
                      <a:pt x="827" y="1392"/>
                    </a:moveTo>
                    <a:lnTo>
                      <a:pt x="815" y="1388"/>
                    </a:lnTo>
                    <a:lnTo>
                      <a:pt x="791" y="1372"/>
                    </a:lnTo>
                    <a:lnTo>
                      <a:pt x="767" y="1372"/>
                    </a:lnTo>
                    <a:lnTo>
                      <a:pt x="747" y="1368"/>
                    </a:lnTo>
                    <a:lnTo>
                      <a:pt x="739" y="1364"/>
                    </a:lnTo>
                    <a:lnTo>
                      <a:pt x="731" y="1355"/>
                    </a:lnTo>
                    <a:lnTo>
                      <a:pt x="718" y="1351"/>
                    </a:lnTo>
                    <a:lnTo>
                      <a:pt x="710" y="1347"/>
                    </a:lnTo>
                    <a:lnTo>
                      <a:pt x="702" y="1339"/>
                    </a:lnTo>
                    <a:lnTo>
                      <a:pt x="698" y="1323"/>
                    </a:lnTo>
                    <a:lnTo>
                      <a:pt x="698" y="1319"/>
                    </a:lnTo>
                    <a:lnTo>
                      <a:pt x="698" y="1315"/>
                    </a:lnTo>
                    <a:lnTo>
                      <a:pt x="698" y="1311"/>
                    </a:lnTo>
                    <a:lnTo>
                      <a:pt x="702" y="1307"/>
                    </a:lnTo>
                    <a:lnTo>
                      <a:pt x="739" y="1303"/>
                    </a:lnTo>
                    <a:lnTo>
                      <a:pt x="767" y="1299"/>
                    </a:lnTo>
                    <a:lnTo>
                      <a:pt x="775" y="1291"/>
                    </a:lnTo>
                    <a:lnTo>
                      <a:pt x="783" y="1279"/>
                    </a:lnTo>
                    <a:lnTo>
                      <a:pt x="779" y="1279"/>
                    </a:lnTo>
                    <a:lnTo>
                      <a:pt x="775" y="1279"/>
                    </a:lnTo>
                    <a:lnTo>
                      <a:pt x="779" y="1226"/>
                    </a:lnTo>
                    <a:lnTo>
                      <a:pt x="779" y="1174"/>
                    </a:lnTo>
                    <a:lnTo>
                      <a:pt x="775" y="1174"/>
                    </a:lnTo>
                    <a:lnTo>
                      <a:pt x="779" y="1138"/>
                    </a:lnTo>
                    <a:lnTo>
                      <a:pt x="783" y="1101"/>
                    </a:lnTo>
                    <a:lnTo>
                      <a:pt x="775" y="1093"/>
                    </a:lnTo>
                    <a:lnTo>
                      <a:pt x="759" y="1081"/>
                    </a:lnTo>
                    <a:lnTo>
                      <a:pt x="755" y="1061"/>
                    </a:lnTo>
                    <a:lnTo>
                      <a:pt x="755" y="1041"/>
                    </a:lnTo>
                    <a:lnTo>
                      <a:pt x="739" y="1033"/>
                    </a:lnTo>
                    <a:lnTo>
                      <a:pt x="731" y="1025"/>
                    </a:lnTo>
                    <a:lnTo>
                      <a:pt x="727" y="1021"/>
                    </a:lnTo>
                    <a:lnTo>
                      <a:pt x="714" y="1013"/>
                    </a:lnTo>
                    <a:lnTo>
                      <a:pt x="710" y="1013"/>
                    </a:lnTo>
                    <a:lnTo>
                      <a:pt x="706" y="1013"/>
                    </a:lnTo>
                    <a:lnTo>
                      <a:pt x="698" y="1017"/>
                    </a:lnTo>
                    <a:lnTo>
                      <a:pt x="686" y="1021"/>
                    </a:lnTo>
                    <a:lnTo>
                      <a:pt x="678" y="1025"/>
                    </a:lnTo>
                    <a:lnTo>
                      <a:pt x="670" y="1033"/>
                    </a:lnTo>
                    <a:lnTo>
                      <a:pt x="646" y="1033"/>
                    </a:lnTo>
                    <a:lnTo>
                      <a:pt x="618" y="1029"/>
                    </a:lnTo>
                    <a:lnTo>
                      <a:pt x="618" y="1025"/>
                    </a:lnTo>
                    <a:lnTo>
                      <a:pt x="569" y="1021"/>
                    </a:lnTo>
                    <a:lnTo>
                      <a:pt x="529" y="1017"/>
                    </a:lnTo>
                    <a:lnTo>
                      <a:pt x="517" y="1008"/>
                    </a:lnTo>
                    <a:lnTo>
                      <a:pt x="505" y="996"/>
                    </a:lnTo>
                    <a:lnTo>
                      <a:pt x="472" y="1004"/>
                    </a:lnTo>
                    <a:lnTo>
                      <a:pt x="432" y="1004"/>
                    </a:lnTo>
                    <a:lnTo>
                      <a:pt x="428" y="1008"/>
                    </a:lnTo>
                    <a:lnTo>
                      <a:pt x="424" y="1008"/>
                    </a:lnTo>
                    <a:lnTo>
                      <a:pt x="396" y="1008"/>
                    </a:lnTo>
                    <a:lnTo>
                      <a:pt x="388" y="1008"/>
                    </a:lnTo>
                    <a:lnTo>
                      <a:pt x="388" y="1021"/>
                    </a:lnTo>
                    <a:lnTo>
                      <a:pt x="388" y="1029"/>
                    </a:lnTo>
                    <a:lnTo>
                      <a:pt x="372" y="1033"/>
                    </a:lnTo>
                    <a:lnTo>
                      <a:pt x="363" y="1045"/>
                    </a:lnTo>
                    <a:lnTo>
                      <a:pt x="355" y="1045"/>
                    </a:lnTo>
                    <a:lnTo>
                      <a:pt x="351" y="1045"/>
                    </a:lnTo>
                    <a:lnTo>
                      <a:pt x="343" y="1041"/>
                    </a:lnTo>
                    <a:lnTo>
                      <a:pt x="335" y="1041"/>
                    </a:lnTo>
                    <a:lnTo>
                      <a:pt x="327" y="1045"/>
                    </a:lnTo>
                    <a:lnTo>
                      <a:pt x="315" y="1045"/>
                    </a:lnTo>
                    <a:lnTo>
                      <a:pt x="315" y="1041"/>
                    </a:lnTo>
                    <a:lnTo>
                      <a:pt x="307" y="1041"/>
                    </a:lnTo>
                    <a:lnTo>
                      <a:pt x="287" y="1057"/>
                    </a:lnTo>
                    <a:lnTo>
                      <a:pt x="267" y="1069"/>
                    </a:lnTo>
                    <a:lnTo>
                      <a:pt x="246" y="1081"/>
                    </a:lnTo>
                    <a:lnTo>
                      <a:pt x="230" y="1093"/>
                    </a:lnTo>
                    <a:lnTo>
                      <a:pt x="226" y="1093"/>
                    </a:lnTo>
                    <a:lnTo>
                      <a:pt x="222" y="1097"/>
                    </a:lnTo>
                    <a:lnTo>
                      <a:pt x="202" y="1113"/>
                    </a:lnTo>
                    <a:lnTo>
                      <a:pt x="194" y="1121"/>
                    </a:lnTo>
                    <a:lnTo>
                      <a:pt x="174" y="1134"/>
                    </a:lnTo>
                    <a:lnTo>
                      <a:pt x="162" y="1142"/>
                    </a:lnTo>
                    <a:lnTo>
                      <a:pt x="146" y="1142"/>
                    </a:lnTo>
                    <a:lnTo>
                      <a:pt x="134" y="1142"/>
                    </a:lnTo>
                    <a:lnTo>
                      <a:pt x="130" y="1134"/>
                    </a:lnTo>
                    <a:lnTo>
                      <a:pt x="121" y="1121"/>
                    </a:lnTo>
                    <a:lnTo>
                      <a:pt x="113" y="1117"/>
                    </a:lnTo>
                    <a:lnTo>
                      <a:pt x="97" y="1109"/>
                    </a:lnTo>
                    <a:lnTo>
                      <a:pt x="97" y="1105"/>
                    </a:lnTo>
                    <a:lnTo>
                      <a:pt x="97" y="1097"/>
                    </a:lnTo>
                    <a:lnTo>
                      <a:pt x="85" y="1093"/>
                    </a:lnTo>
                    <a:lnTo>
                      <a:pt x="65" y="1081"/>
                    </a:lnTo>
                    <a:lnTo>
                      <a:pt x="37" y="1077"/>
                    </a:lnTo>
                    <a:lnTo>
                      <a:pt x="17" y="1073"/>
                    </a:lnTo>
                    <a:lnTo>
                      <a:pt x="8" y="1073"/>
                    </a:lnTo>
                    <a:lnTo>
                      <a:pt x="4" y="1065"/>
                    </a:lnTo>
                    <a:lnTo>
                      <a:pt x="0" y="1049"/>
                    </a:lnTo>
                    <a:lnTo>
                      <a:pt x="0" y="1041"/>
                    </a:lnTo>
                    <a:lnTo>
                      <a:pt x="4" y="1025"/>
                    </a:lnTo>
                    <a:lnTo>
                      <a:pt x="17" y="1013"/>
                    </a:lnTo>
                    <a:lnTo>
                      <a:pt x="29" y="980"/>
                    </a:lnTo>
                    <a:lnTo>
                      <a:pt x="49" y="948"/>
                    </a:lnTo>
                    <a:lnTo>
                      <a:pt x="61" y="940"/>
                    </a:lnTo>
                    <a:lnTo>
                      <a:pt x="73" y="928"/>
                    </a:lnTo>
                    <a:lnTo>
                      <a:pt x="81" y="916"/>
                    </a:lnTo>
                    <a:lnTo>
                      <a:pt x="85" y="908"/>
                    </a:lnTo>
                    <a:lnTo>
                      <a:pt x="97" y="900"/>
                    </a:lnTo>
                    <a:lnTo>
                      <a:pt x="105" y="891"/>
                    </a:lnTo>
                    <a:lnTo>
                      <a:pt x="121" y="855"/>
                    </a:lnTo>
                    <a:lnTo>
                      <a:pt x="146" y="823"/>
                    </a:lnTo>
                    <a:lnTo>
                      <a:pt x="150" y="807"/>
                    </a:lnTo>
                    <a:lnTo>
                      <a:pt x="158" y="787"/>
                    </a:lnTo>
                    <a:lnTo>
                      <a:pt x="166" y="783"/>
                    </a:lnTo>
                    <a:lnTo>
                      <a:pt x="170" y="774"/>
                    </a:lnTo>
                    <a:lnTo>
                      <a:pt x="186" y="774"/>
                    </a:lnTo>
                    <a:lnTo>
                      <a:pt x="202" y="774"/>
                    </a:lnTo>
                    <a:lnTo>
                      <a:pt x="210" y="779"/>
                    </a:lnTo>
                    <a:lnTo>
                      <a:pt x="226" y="783"/>
                    </a:lnTo>
                    <a:lnTo>
                      <a:pt x="226" y="787"/>
                    </a:lnTo>
                    <a:lnTo>
                      <a:pt x="230" y="787"/>
                    </a:lnTo>
                    <a:lnTo>
                      <a:pt x="234" y="787"/>
                    </a:lnTo>
                    <a:lnTo>
                      <a:pt x="238" y="795"/>
                    </a:lnTo>
                    <a:lnTo>
                      <a:pt x="267" y="783"/>
                    </a:lnTo>
                    <a:lnTo>
                      <a:pt x="287" y="774"/>
                    </a:lnTo>
                    <a:lnTo>
                      <a:pt x="287" y="770"/>
                    </a:lnTo>
                    <a:lnTo>
                      <a:pt x="291" y="762"/>
                    </a:lnTo>
                    <a:lnTo>
                      <a:pt x="287" y="722"/>
                    </a:lnTo>
                    <a:lnTo>
                      <a:pt x="287" y="670"/>
                    </a:lnTo>
                    <a:lnTo>
                      <a:pt x="287" y="666"/>
                    </a:lnTo>
                    <a:lnTo>
                      <a:pt x="283" y="662"/>
                    </a:lnTo>
                    <a:lnTo>
                      <a:pt x="279" y="657"/>
                    </a:lnTo>
                    <a:lnTo>
                      <a:pt x="275" y="649"/>
                    </a:lnTo>
                    <a:lnTo>
                      <a:pt x="275" y="645"/>
                    </a:lnTo>
                    <a:lnTo>
                      <a:pt x="275" y="641"/>
                    </a:lnTo>
                    <a:lnTo>
                      <a:pt x="291" y="629"/>
                    </a:lnTo>
                    <a:lnTo>
                      <a:pt x="315" y="621"/>
                    </a:lnTo>
                    <a:lnTo>
                      <a:pt x="327" y="617"/>
                    </a:lnTo>
                    <a:lnTo>
                      <a:pt x="335" y="609"/>
                    </a:lnTo>
                    <a:lnTo>
                      <a:pt x="351" y="605"/>
                    </a:lnTo>
                    <a:lnTo>
                      <a:pt x="359" y="601"/>
                    </a:lnTo>
                    <a:lnTo>
                      <a:pt x="372" y="593"/>
                    </a:lnTo>
                    <a:lnTo>
                      <a:pt x="380" y="581"/>
                    </a:lnTo>
                    <a:lnTo>
                      <a:pt x="392" y="581"/>
                    </a:lnTo>
                    <a:lnTo>
                      <a:pt x="404" y="581"/>
                    </a:lnTo>
                    <a:lnTo>
                      <a:pt x="428" y="593"/>
                    </a:lnTo>
                    <a:lnTo>
                      <a:pt x="448" y="605"/>
                    </a:lnTo>
                    <a:lnTo>
                      <a:pt x="485" y="609"/>
                    </a:lnTo>
                    <a:lnTo>
                      <a:pt x="521" y="613"/>
                    </a:lnTo>
                    <a:lnTo>
                      <a:pt x="545" y="613"/>
                    </a:lnTo>
                    <a:lnTo>
                      <a:pt x="561" y="613"/>
                    </a:lnTo>
                    <a:lnTo>
                      <a:pt x="589" y="605"/>
                    </a:lnTo>
                    <a:lnTo>
                      <a:pt x="618" y="601"/>
                    </a:lnTo>
                    <a:lnTo>
                      <a:pt x="630" y="589"/>
                    </a:lnTo>
                    <a:lnTo>
                      <a:pt x="650" y="569"/>
                    </a:lnTo>
                    <a:lnTo>
                      <a:pt x="666" y="545"/>
                    </a:lnTo>
                    <a:lnTo>
                      <a:pt x="694" y="524"/>
                    </a:lnTo>
                    <a:lnTo>
                      <a:pt x="694" y="516"/>
                    </a:lnTo>
                    <a:lnTo>
                      <a:pt x="698" y="508"/>
                    </a:lnTo>
                    <a:lnTo>
                      <a:pt x="702" y="504"/>
                    </a:lnTo>
                    <a:lnTo>
                      <a:pt x="706" y="496"/>
                    </a:lnTo>
                    <a:lnTo>
                      <a:pt x="710" y="476"/>
                    </a:lnTo>
                    <a:lnTo>
                      <a:pt x="710" y="448"/>
                    </a:lnTo>
                    <a:lnTo>
                      <a:pt x="714" y="444"/>
                    </a:lnTo>
                    <a:lnTo>
                      <a:pt x="714" y="432"/>
                    </a:lnTo>
                    <a:lnTo>
                      <a:pt x="718" y="423"/>
                    </a:lnTo>
                    <a:lnTo>
                      <a:pt x="731" y="415"/>
                    </a:lnTo>
                    <a:lnTo>
                      <a:pt x="739" y="411"/>
                    </a:lnTo>
                    <a:lnTo>
                      <a:pt x="763" y="399"/>
                    </a:lnTo>
                    <a:lnTo>
                      <a:pt x="775" y="391"/>
                    </a:lnTo>
                    <a:lnTo>
                      <a:pt x="775" y="375"/>
                    </a:lnTo>
                    <a:lnTo>
                      <a:pt x="779" y="363"/>
                    </a:lnTo>
                    <a:lnTo>
                      <a:pt x="779" y="327"/>
                    </a:lnTo>
                    <a:lnTo>
                      <a:pt x="779" y="294"/>
                    </a:lnTo>
                    <a:lnTo>
                      <a:pt x="787" y="290"/>
                    </a:lnTo>
                    <a:lnTo>
                      <a:pt x="795" y="286"/>
                    </a:lnTo>
                    <a:lnTo>
                      <a:pt x="811" y="286"/>
                    </a:lnTo>
                    <a:lnTo>
                      <a:pt x="823" y="282"/>
                    </a:lnTo>
                    <a:lnTo>
                      <a:pt x="827" y="274"/>
                    </a:lnTo>
                    <a:lnTo>
                      <a:pt x="831" y="274"/>
                    </a:lnTo>
                    <a:lnTo>
                      <a:pt x="840" y="270"/>
                    </a:lnTo>
                    <a:lnTo>
                      <a:pt x="848" y="262"/>
                    </a:lnTo>
                    <a:lnTo>
                      <a:pt x="876" y="258"/>
                    </a:lnTo>
                    <a:lnTo>
                      <a:pt x="900" y="254"/>
                    </a:lnTo>
                    <a:lnTo>
                      <a:pt x="904" y="250"/>
                    </a:lnTo>
                    <a:lnTo>
                      <a:pt x="908" y="246"/>
                    </a:lnTo>
                    <a:lnTo>
                      <a:pt x="912" y="222"/>
                    </a:lnTo>
                    <a:lnTo>
                      <a:pt x="912" y="206"/>
                    </a:lnTo>
                    <a:lnTo>
                      <a:pt x="924" y="198"/>
                    </a:lnTo>
                    <a:lnTo>
                      <a:pt x="932" y="181"/>
                    </a:lnTo>
                    <a:lnTo>
                      <a:pt x="957" y="173"/>
                    </a:lnTo>
                    <a:lnTo>
                      <a:pt x="985" y="161"/>
                    </a:lnTo>
                    <a:lnTo>
                      <a:pt x="989" y="157"/>
                    </a:lnTo>
                    <a:lnTo>
                      <a:pt x="997" y="153"/>
                    </a:lnTo>
                    <a:lnTo>
                      <a:pt x="1001" y="113"/>
                    </a:lnTo>
                    <a:lnTo>
                      <a:pt x="1001" y="93"/>
                    </a:lnTo>
                    <a:lnTo>
                      <a:pt x="1013" y="85"/>
                    </a:lnTo>
                    <a:lnTo>
                      <a:pt x="1021" y="77"/>
                    </a:lnTo>
                    <a:lnTo>
                      <a:pt x="1049" y="68"/>
                    </a:lnTo>
                    <a:lnTo>
                      <a:pt x="1069" y="68"/>
                    </a:lnTo>
                    <a:lnTo>
                      <a:pt x="1118" y="68"/>
                    </a:lnTo>
                    <a:lnTo>
                      <a:pt x="1166" y="68"/>
                    </a:lnTo>
                    <a:lnTo>
                      <a:pt x="1166" y="64"/>
                    </a:lnTo>
                    <a:lnTo>
                      <a:pt x="1178" y="64"/>
                    </a:lnTo>
                    <a:lnTo>
                      <a:pt x="1182" y="64"/>
                    </a:lnTo>
                    <a:lnTo>
                      <a:pt x="1182" y="68"/>
                    </a:lnTo>
                    <a:lnTo>
                      <a:pt x="1211" y="68"/>
                    </a:lnTo>
                    <a:lnTo>
                      <a:pt x="1235" y="68"/>
                    </a:lnTo>
                    <a:lnTo>
                      <a:pt x="1259" y="64"/>
                    </a:lnTo>
                    <a:lnTo>
                      <a:pt x="1279" y="64"/>
                    </a:lnTo>
                    <a:lnTo>
                      <a:pt x="1283" y="56"/>
                    </a:lnTo>
                    <a:lnTo>
                      <a:pt x="1283" y="52"/>
                    </a:lnTo>
                    <a:lnTo>
                      <a:pt x="1283" y="48"/>
                    </a:lnTo>
                    <a:lnTo>
                      <a:pt x="1291" y="40"/>
                    </a:lnTo>
                    <a:lnTo>
                      <a:pt x="1307" y="28"/>
                    </a:lnTo>
                    <a:lnTo>
                      <a:pt x="1320" y="16"/>
                    </a:lnTo>
                    <a:lnTo>
                      <a:pt x="1336" y="8"/>
                    </a:lnTo>
                    <a:lnTo>
                      <a:pt x="1348" y="4"/>
                    </a:lnTo>
                    <a:lnTo>
                      <a:pt x="1364" y="0"/>
                    </a:lnTo>
                    <a:lnTo>
                      <a:pt x="1396" y="0"/>
                    </a:lnTo>
                    <a:lnTo>
                      <a:pt x="1400" y="4"/>
                    </a:lnTo>
                    <a:lnTo>
                      <a:pt x="1408" y="12"/>
                    </a:lnTo>
                    <a:lnTo>
                      <a:pt x="1400" y="16"/>
                    </a:lnTo>
                    <a:lnTo>
                      <a:pt x="1392" y="20"/>
                    </a:lnTo>
                    <a:lnTo>
                      <a:pt x="1384" y="20"/>
                    </a:lnTo>
                    <a:lnTo>
                      <a:pt x="1380" y="28"/>
                    </a:lnTo>
                    <a:lnTo>
                      <a:pt x="1384" y="48"/>
                    </a:lnTo>
                    <a:lnTo>
                      <a:pt x="1380" y="64"/>
                    </a:lnTo>
                    <a:lnTo>
                      <a:pt x="1376" y="68"/>
                    </a:lnTo>
                    <a:lnTo>
                      <a:pt x="1376" y="81"/>
                    </a:lnTo>
                    <a:lnTo>
                      <a:pt x="1376" y="89"/>
                    </a:lnTo>
                    <a:lnTo>
                      <a:pt x="1384" y="113"/>
                    </a:lnTo>
                    <a:lnTo>
                      <a:pt x="1400" y="133"/>
                    </a:lnTo>
                    <a:lnTo>
                      <a:pt x="1400" y="141"/>
                    </a:lnTo>
                    <a:lnTo>
                      <a:pt x="1400" y="153"/>
                    </a:lnTo>
                    <a:lnTo>
                      <a:pt x="1396" y="165"/>
                    </a:lnTo>
                    <a:lnTo>
                      <a:pt x="1384" y="181"/>
                    </a:lnTo>
                    <a:lnTo>
                      <a:pt x="1384" y="189"/>
                    </a:lnTo>
                    <a:lnTo>
                      <a:pt x="1384" y="198"/>
                    </a:lnTo>
                    <a:lnTo>
                      <a:pt x="1424" y="206"/>
                    </a:lnTo>
                    <a:lnTo>
                      <a:pt x="1441" y="210"/>
                    </a:lnTo>
                    <a:lnTo>
                      <a:pt x="1449" y="222"/>
                    </a:lnTo>
                    <a:lnTo>
                      <a:pt x="1457" y="234"/>
                    </a:lnTo>
                    <a:lnTo>
                      <a:pt x="1457" y="246"/>
                    </a:lnTo>
                    <a:lnTo>
                      <a:pt x="1457" y="262"/>
                    </a:lnTo>
                    <a:lnTo>
                      <a:pt x="1453" y="270"/>
                    </a:lnTo>
                    <a:lnTo>
                      <a:pt x="1453" y="274"/>
                    </a:lnTo>
                    <a:lnTo>
                      <a:pt x="1433" y="286"/>
                    </a:lnTo>
                    <a:lnTo>
                      <a:pt x="1412" y="294"/>
                    </a:lnTo>
                    <a:lnTo>
                      <a:pt x="1380" y="298"/>
                    </a:lnTo>
                    <a:lnTo>
                      <a:pt x="1348" y="306"/>
                    </a:lnTo>
                    <a:lnTo>
                      <a:pt x="1328" y="306"/>
                    </a:lnTo>
                    <a:lnTo>
                      <a:pt x="1312" y="306"/>
                    </a:lnTo>
                    <a:lnTo>
                      <a:pt x="1295" y="311"/>
                    </a:lnTo>
                    <a:lnTo>
                      <a:pt x="1283" y="323"/>
                    </a:lnTo>
                    <a:lnTo>
                      <a:pt x="1279" y="351"/>
                    </a:lnTo>
                    <a:lnTo>
                      <a:pt x="1271" y="379"/>
                    </a:lnTo>
                    <a:lnTo>
                      <a:pt x="1271" y="395"/>
                    </a:lnTo>
                    <a:lnTo>
                      <a:pt x="1271" y="411"/>
                    </a:lnTo>
                    <a:lnTo>
                      <a:pt x="1279" y="419"/>
                    </a:lnTo>
                    <a:lnTo>
                      <a:pt x="1283" y="428"/>
                    </a:lnTo>
                    <a:lnTo>
                      <a:pt x="1283" y="440"/>
                    </a:lnTo>
                    <a:lnTo>
                      <a:pt x="1291" y="448"/>
                    </a:lnTo>
                    <a:lnTo>
                      <a:pt x="1295" y="452"/>
                    </a:lnTo>
                    <a:lnTo>
                      <a:pt x="1299" y="460"/>
                    </a:lnTo>
                    <a:lnTo>
                      <a:pt x="1299" y="464"/>
                    </a:lnTo>
                    <a:lnTo>
                      <a:pt x="1299" y="476"/>
                    </a:lnTo>
                    <a:lnTo>
                      <a:pt x="1295" y="480"/>
                    </a:lnTo>
                    <a:lnTo>
                      <a:pt x="1291" y="480"/>
                    </a:lnTo>
                    <a:lnTo>
                      <a:pt x="1271" y="480"/>
                    </a:lnTo>
                    <a:lnTo>
                      <a:pt x="1255" y="480"/>
                    </a:lnTo>
                    <a:lnTo>
                      <a:pt x="1247" y="488"/>
                    </a:lnTo>
                    <a:lnTo>
                      <a:pt x="1243" y="492"/>
                    </a:lnTo>
                    <a:lnTo>
                      <a:pt x="1235" y="508"/>
                    </a:lnTo>
                    <a:lnTo>
                      <a:pt x="1235" y="532"/>
                    </a:lnTo>
                    <a:lnTo>
                      <a:pt x="1243" y="536"/>
                    </a:lnTo>
                    <a:lnTo>
                      <a:pt x="1247" y="545"/>
                    </a:lnTo>
                    <a:lnTo>
                      <a:pt x="1247" y="557"/>
                    </a:lnTo>
                    <a:lnTo>
                      <a:pt x="1247" y="569"/>
                    </a:lnTo>
                    <a:lnTo>
                      <a:pt x="1235" y="577"/>
                    </a:lnTo>
                    <a:lnTo>
                      <a:pt x="1227" y="581"/>
                    </a:lnTo>
                    <a:lnTo>
                      <a:pt x="1219" y="593"/>
                    </a:lnTo>
                    <a:lnTo>
                      <a:pt x="1215" y="609"/>
                    </a:lnTo>
                    <a:lnTo>
                      <a:pt x="1215" y="625"/>
                    </a:lnTo>
                    <a:lnTo>
                      <a:pt x="1211" y="645"/>
                    </a:lnTo>
                    <a:lnTo>
                      <a:pt x="1199" y="674"/>
                    </a:lnTo>
                    <a:lnTo>
                      <a:pt x="1182" y="698"/>
                    </a:lnTo>
                    <a:lnTo>
                      <a:pt x="1178" y="706"/>
                    </a:lnTo>
                    <a:lnTo>
                      <a:pt x="1166" y="710"/>
                    </a:lnTo>
                    <a:lnTo>
                      <a:pt x="1166" y="722"/>
                    </a:lnTo>
                    <a:lnTo>
                      <a:pt x="1154" y="726"/>
                    </a:lnTo>
                    <a:lnTo>
                      <a:pt x="1142" y="738"/>
                    </a:lnTo>
                    <a:lnTo>
                      <a:pt x="1122" y="742"/>
                    </a:lnTo>
                    <a:lnTo>
                      <a:pt x="1118" y="783"/>
                    </a:lnTo>
                    <a:lnTo>
                      <a:pt x="1114" y="823"/>
                    </a:lnTo>
                    <a:lnTo>
                      <a:pt x="1094" y="843"/>
                    </a:lnTo>
                    <a:lnTo>
                      <a:pt x="1078" y="855"/>
                    </a:lnTo>
                    <a:lnTo>
                      <a:pt x="1069" y="855"/>
                    </a:lnTo>
                    <a:lnTo>
                      <a:pt x="1053" y="859"/>
                    </a:lnTo>
                    <a:lnTo>
                      <a:pt x="1053" y="863"/>
                    </a:lnTo>
                    <a:lnTo>
                      <a:pt x="1037" y="867"/>
                    </a:lnTo>
                    <a:lnTo>
                      <a:pt x="1025" y="871"/>
                    </a:lnTo>
                    <a:lnTo>
                      <a:pt x="1021" y="879"/>
                    </a:lnTo>
                    <a:lnTo>
                      <a:pt x="1021" y="908"/>
                    </a:lnTo>
                    <a:lnTo>
                      <a:pt x="1021" y="920"/>
                    </a:lnTo>
                    <a:lnTo>
                      <a:pt x="1025" y="920"/>
                    </a:lnTo>
                    <a:lnTo>
                      <a:pt x="1033" y="928"/>
                    </a:lnTo>
                    <a:lnTo>
                      <a:pt x="1033" y="932"/>
                    </a:lnTo>
                    <a:lnTo>
                      <a:pt x="1037" y="952"/>
                    </a:lnTo>
                    <a:lnTo>
                      <a:pt x="1053" y="956"/>
                    </a:lnTo>
                    <a:lnTo>
                      <a:pt x="1073" y="964"/>
                    </a:lnTo>
                    <a:lnTo>
                      <a:pt x="1078" y="980"/>
                    </a:lnTo>
                    <a:lnTo>
                      <a:pt x="1086" y="992"/>
                    </a:lnTo>
                    <a:lnTo>
                      <a:pt x="1106" y="1004"/>
                    </a:lnTo>
                    <a:lnTo>
                      <a:pt x="1126" y="1008"/>
                    </a:lnTo>
                    <a:lnTo>
                      <a:pt x="1126" y="1021"/>
                    </a:lnTo>
                    <a:lnTo>
                      <a:pt x="1126" y="1029"/>
                    </a:lnTo>
                    <a:lnTo>
                      <a:pt x="1122" y="1033"/>
                    </a:lnTo>
                    <a:lnTo>
                      <a:pt x="1118" y="1049"/>
                    </a:lnTo>
                    <a:lnTo>
                      <a:pt x="1118" y="1061"/>
                    </a:lnTo>
                    <a:lnTo>
                      <a:pt x="1106" y="1069"/>
                    </a:lnTo>
                    <a:lnTo>
                      <a:pt x="1098" y="1081"/>
                    </a:lnTo>
                    <a:lnTo>
                      <a:pt x="1065" y="1081"/>
                    </a:lnTo>
                    <a:lnTo>
                      <a:pt x="1037" y="1089"/>
                    </a:lnTo>
                    <a:lnTo>
                      <a:pt x="1033" y="1089"/>
                    </a:lnTo>
                    <a:lnTo>
                      <a:pt x="1033" y="1093"/>
                    </a:lnTo>
                    <a:lnTo>
                      <a:pt x="989" y="1097"/>
                    </a:lnTo>
                    <a:lnTo>
                      <a:pt x="981" y="1101"/>
                    </a:lnTo>
                    <a:lnTo>
                      <a:pt x="977" y="1101"/>
                    </a:lnTo>
                    <a:lnTo>
                      <a:pt x="973" y="1105"/>
                    </a:lnTo>
                    <a:lnTo>
                      <a:pt x="948" y="1121"/>
                    </a:lnTo>
                    <a:lnTo>
                      <a:pt x="920" y="1138"/>
                    </a:lnTo>
                    <a:lnTo>
                      <a:pt x="920" y="1154"/>
                    </a:lnTo>
                    <a:lnTo>
                      <a:pt x="908" y="1174"/>
                    </a:lnTo>
                    <a:lnTo>
                      <a:pt x="912" y="1182"/>
                    </a:lnTo>
                    <a:lnTo>
                      <a:pt x="920" y="1182"/>
                    </a:lnTo>
                    <a:lnTo>
                      <a:pt x="920" y="1198"/>
                    </a:lnTo>
                    <a:lnTo>
                      <a:pt x="920" y="1214"/>
                    </a:lnTo>
                    <a:lnTo>
                      <a:pt x="924" y="1230"/>
                    </a:lnTo>
                    <a:lnTo>
                      <a:pt x="928" y="1234"/>
                    </a:lnTo>
                    <a:lnTo>
                      <a:pt x="932" y="1251"/>
                    </a:lnTo>
                    <a:lnTo>
                      <a:pt x="936" y="1267"/>
                    </a:lnTo>
                    <a:lnTo>
                      <a:pt x="936" y="1287"/>
                    </a:lnTo>
                    <a:lnTo>
                      <a:pt x="936" y="1299"/>
                    </a:lnTo>
                    <a:lnTo>
                      <a:pt x="948" y="1307"/>
                    </a:lnTo>
                    <a:lnTo>
                      <a:pt x="957" y="1319"/>
                    </a:lnTo>
                    <a:lnTo>
                      <a:pt x="957" y="1331"/>
                    </a:lnTo>
                    <a:lnTo>
                      <a:pt x="957" y="1347"/>
                    </a:lnTo>
                    <a:lnTo>
                      <a:pt x="952" y="1351"/>
                    </a:lnTo>
                    <a:lnTo>
                      <a:pt x="948" y="1359"/>
                    </a:lnTo>
                    <a:lnTo>
                      <a:pt x="944" y="1364"/>
                    </a:lnTo>
                    <a:lnTo>
                      <a:pt x="932" y="1368"/>
                    </a:lnTo>
                    <a:lnTo>
                      <a:pt x="904" y="1372"/>
                    </a:lnTo>
                    <a:lnTo>
                      <a:pt x="876" y="1380"/>
                    </a:lnTo>
                    <a:lnTo>
                      <a:pt x="868" y="1384"/>
                    </a:lnTo>
                    <a:lnTo>
                      <a:pt x="864" y="1392"/>
                    </a:lnTo>
                    <a:lnTo>
                      <a:pt x="844" y="1392"/>
                    </a:lnTo>
                    <a:lnTo>
                      <a:pt x="827" y="139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33" name="Freeform 41"/>
              <p:cNvSpPr>
                <a:spLocks/>
              </p:cNvSpPr>
              <p:nvPr/>
            </p:nvSpPr>
            <p:spPr bwMode="auto">
              <a:xfrm>
                <a:off x="1252622" y="3601209"/>
                <a:ext cx="1003301" cy="689091"/>
              </a:xfrm>
              <a:custGeom>
                <a:avLst/>
                <a:gdLst>
                  <a:gd name="T0" fmla="*/ 2147483647 w 1118"/>
                  <a:gd name="T1" fmla="*/ 2147483647 h 774"/>
                  <a:gd name="T2" fmla="*/ 2147483647 w 1118"/>
                  <a:gd name="T3" fmla="*/ 2147483647 h 774"/>
                  <a:gd name="T4" fmla="*/ 2147483647 w 1118"/>
                  <a:gd name="T5" fmla="*/ 2147483647 h 774"/>
                  <a:gd name="T6" fmla="*/ 2147483647 w 1118"/>
                  <a:gd name="T7" fmla="*/ 2147483647 h 774"/>
                  <a:gd name="T8" fmla="*/ 2147483647 w 1118"/>
                  <a:gd name="T9" fmla="*/ 2147483647 h 774"/>
                  <a:gd name="T10" fmla="*/ 2147483647 w 1118"/>
                  <a:gd name="T11" fmla="*/ 2147483647 h 774"/>
                  <a:gd name="T12" fmla="*/ 2147483647 w 1118"/>
                  <a:gd name="T13" fmla="*/ 2147483647 h 774"/>
                  <a:gd name="T14" fmla="*/ 2147483647 w 1118"/>
                  <a:gd name="T15" fmla="*/ 2147483647 h 774"/>
                  <a:gd name="T16" fmla="*/ 2147483647 w 1118"/>
                  <a:gd name="T17" fmla="*/ 2147483647 h 774"/>
                  <a:gd name="T18" fmla="*/ 2147483647 w 1118"/>
                  <a:gd name="T19" fmla="*/ 2147483647 h 774"/>
                  <a:gd name="T20" fmla="*/ 2147483647 w 1118"/>
                  <a:gd name="T21" fmla="*/ 2147483647 h 774"/>
                  <a:gd name="T22" fmla="*/ 2147483647 w 1118"/>
                  <a:gd name="T23" fmla="*/ 2147483647 h 774"/>
                  <a:gd name="T24" fmla="*/ 0 w 1118"/>
                  <a:gd name="T25" fmla="*/ 2147483647 h 774"/>
                  <a:gd name="T26" fmla="*/ 2147483647 w 1118"/>
                  <a:gd name="T27" fmla="*/ 2147483647 h 774"/>
                  <a:gd name="T28" fmla="*/ 2147483647 w 1118"/>
                  <a:gd name="T29" fmla="*/ 2147483647 h 774"/>
                  <a:gd name="T30" fmla="*/ 2147483647 w 1118"/>
                  <a:gd name="T31" fmla="*/ 2147483647 h 774"/>
                  <a:gd name="T32" fmla="*/ 2147483647 w 1118"/>
                  <a:gd name="T33" fmla="*/ 2147483647 h 774"/>
                  <a:gd name="T34" fmla="*/ 2147483647 w 1118"/>
                  <a:gd name="T35" fmla="*/ 2147483647 h 774"/>
                  <a:gd name="T36" fmla="*/ 2147483647 w 1118"/>
                  <a:gd name="T37" fmla="*/ 2147483647 h 774"/>
                  <a:gd name="T38" fmla="*/ 2147483647 w 1118"/>
                  <a:gd name="T39" fmla="*/ 2147483647 h 774"/>
                  <a:gd name="T40" fmla="*/ 2147483647 w 1118"/>
                  <a:gd name="T41" fmla="*/ 2147483647 h 774"/>
                  <a:gd name="T42" fmla="*/ 2147483647 w 1118"/>
                  <a:gd name="T43" fmla="*/ 2147483647 h 774"/>
                  <a:gd name="T44" fmla="*/ 2147483647 w 1118"/>
                  <a:gd name="T45" fmla="*/ 2147483647 h 774"/>
                  <a:gd name="T46" fmla="*/ 2147483647 w 1118"/>
                  <a:gd name="T47" fmla="*/ 2147483647 h 774"/>
                  <a:gd name="T48" fmla="*/ 2147483647 w 1118"/>
                  <a:gd name="T49" fmla="*/ 2147483647 h 774"/>
                  <a:gd name="T50" fmla="*/ 2147483647 w 1118"/>
                  <a:gd name="T51" fmla="*/ 2147483647 h 774"/>
                  <a:gd name="T52" fmla="*/ 2147483647 w 1118"/>
                  <a:gd name="T53" fmla="*/ 2147483647 h 774"/>
                  <a:gd name="T54" fmla="*/ 2147483647 w 1118"/>
                  <a:gd name="T55" fmla="*/ 2147483647 h 774"/>
                  <a:gd name="T56" fmla="*/ 2147483647 w 1118"/>
                  <a:gd name="T57" fmla="*/ 2147483647 h 774"/>
                  <a:gd name="T58" fmla="*/ 2147483647 w 1118"/>
                  <a:gd name="T59" fmla="*/ 2147483647 h 774"/>
                  <a:gd name="T60" fmla="*/ 2147483647 w 1118"/>
                  <a:gd name="T61" fmla="*/ 2147483647 h 774"/>
                  <a:gd name="T62" fmla="*/ 2147483647 w 1118"/>
                  <a:gd name="T63" fmla="*/ 2147483647 h 774"/>
                  <a:gd name="T64" fmla="*/ 2147483647 w 1118"/>
                  <a:gd name="T65" fmla="*/ 2147483647 h 774"/>
                  <a:gd name="T66" fmla="*/ 2147483647 w 1118"/>
                  <a:gd name="T67" fmla="*/ 2147483647 h 774"/>
                  <a:gd name="T68" fmla="*/ 2147483647 w 1118"/>
                  <a:gd name="T69" fmla="*/ 2147483647 h 774"/>
                  <a:gd name="T70" fmla="*/ 2147483647 w 1118"/>
                  <a:gd name="T71" fmla="*/ 2147483647 h 774"/>
                  <a:gd name="T72" fmla="*/ 2147483647 w 1118"/>
                  <a:gd name="T73" fmla="*/ 2147483647 h 774"/>
                  <a:gd name="T74" fmla="*/ 2147483647 w 1118"/>
                  <a:gd name="T75" fmla="*/ 2147483647 h 774"/>
                  <a:gd name="T76" fmla="*/ 2147483647 w 1118"/>
                  <a:gd name="T77" fmla="*/ 2147483647 h 774"/>
                  <a:gd name="T78" fmla="*/ 2147483647 w 1118"/>
                  <a:gd name="T79" fmla="*/ 2147483647 h 774"/>
                  <a:gd name="T80" fmla="*/ 2147483647 w 1118"/>
                  <a:gd name="T81" fmla="*/ 2147483647 h 774"/>
                  <a:gd name="T82" fmla="*/ 2147483647 w 1118"/>
                  <a:gd name="T83" fmla="*/ 2147483647 h 774"/>
                  <a:gd name="T84" fmla="*/ 2147483647 w 1118"/>
                  <a:gd name="T85" fmla="*/ 2147483647 h 774"/>
                  <a:gd name="T86" fmla="*/ 2147483647 w 1118"/>
                  <a:gd name="T87" fmla="*/ 2147483647 h 774"/>
                  <a:gd name="T88" fmla="*/ 2147483647 w 1118"/>
                  <a:gd name="T89" fmla="*/ 2147483647 h 774"/>
                  <a:gd name="T90" fmla="*/ 2147483647 w 1118"/>
                  <a:gd name="T91" fmla="*/ 2147483647 h 774"/>
                  <a:gd name="T92" fmla="*/ 2147483647 w 1118"/>
                  <a:gd name="T93" fmla="*/ 2147483647 h 774"/>
                  <a:gd name="T94" fmla="*/ 2147483647 w 1118"/>
                  <a:gd name="T95" fmla="*/ 2147483647 h 774"/>
                  <a:gd name="T96" fmla="*/ 2147483647 w 1118"/>
                  <a:gd name="T97" fmla="*/ 2147483647 h 774"/>
                  <a:gd name="T98" fmla="*/ 2147483647 w 1118"/>
                  <a:gd name="T99" fmla="*/ 2147483647 h 774"/>
                  <a:gd name="T100" fmla="*/ 2147483647 w 1118"/>
                  <a:gd name="T101" fmla="*/ 2147483647 h 77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118"/>
                  <a:gd name="T154" fmla="*/ 0 h 774"/>
                  <a:gd name="T155" fmla="*/ 1118 w 1118"/>
                  <a:gd name="T156" fmla="*/ 774 h 77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118" h="774">
                    <a:moveTo>
                      <a:pt x="638" y="774"/>
                    </a:moveTo>
                    <a:lnTo>
                      <a:pt x="626" y="766"/>
                    </a:lnTo>
                    <a:lnTo>
                      <a:pt x="614" y="762"/>
                    </a:lnTo>
                    <a:lnTo>
                      <a:pt x="614" y="758"/>
                    </a:lnTo>
                    <a:lnTo>
                      <a:pt x="609" y="758"/>
                    </a:lnTo>
                    <a:lnTo>
                      <a:pt x="597" y="754"/>
                    </a:lnTo>
                    <a:lnTo>
                      <a:pt x="589" y="750"/>
                    </a:lnTo>
                    <a:lnTo>
                      <a:pt x="577" y="726"/>
                    </a:lnTo>
                    <a:lnTo>
                      <a:pt x="561" y="706"/>
                    </a:lnTo>
                    <a:lnTo>
                      <a:pt x="561" y="698"/>
                    </a:lnTo>
                    <a:lnTo>
                      <a:pt x="557" y="682"/>
                    </a:lnTo>
                    <a:lnTo>
                      <a:pt x="553" y="673"/>
                    </a:lnTo>
                    <a:lnTo>
                      <a:pt x="541" y="661"/>
                    </a:lnTo>
                    <a:lnTo>
                      <a:pt x="529" y="653"/>
                    </a:lnTo>
                    <a:lnTo>
                      <a:pt x="517" y="641"/>
                    </a:lnTo>
                    <a:lnTo>
                      <a:pt x="488" y="625"/>
                    </a:lnTo>
                    <a:lnTo>
                      <a:pt x="480" y="613"/>
                    </a:lnTo>
                    <a:lnTo>
                      <a:pt x="476" y="597"/>
                    </a:lnTo>
                    <a:lnTo>
                      <a:pt x="476" y="585"/>
                    </a:lnTo>
                    <a:lnTo>
                      <a:pt x="472" y="585"/>
                    </a:lnTo>
                    <a:lnTo>
                      <a:pt x="468" y="581"/>
                    </a:lnTo>
                    <a:lnTo>
                      <a:pt x="448" y="581"/>
                    </a:lnTo>
                    <a:lnTo>
                      <a:pt x="432" y="581"/>
                    </a:lnTo>
                    <a:lnTo>
                      <a:pt x="416" y="585"/>
                    </a:lnTo>
                    <a:lnTo>
                      <a:pt x="404" y="589"/>
                    </a:lnTo>
                    <a:lnTo>
                      <a:pt x="380" y="585"/>
                    </a:lnTo>
                    <a:lnTo>
                      <a:pt x="359" y="585"/>
                    </a:lnTo>
                    <a:lnTo>
                      <a:pt x="315" y="597"/>
                    </a:lnTo>
                    <a:lnTo>
                      <a:pt x="267" y="613"/>
                    </a:lnTo>
                    <a:lnTo>
                      <a:pt x="226" y="617"/>
                    </a:lnTo>
                    <a:lnTo>
                      <a:pt x="214" y="621"/>
                    </a:lnTo>
                    <a:lnTo>
                      <a:pt x="198" y="621"/>
                    </a:lnTo>
                    <a:lnTo>
                      <a:pt x="178" y="621"/>
                    </a:lnTo>
                    <a:lnTo>
                      <a:pt x="174" y="605"/>
                    </a:lnTo>
                    <a:lnTo>
                      <a:pt x="146" y="585"/>
                    </a:lnTo>
                    <a:lnTo>
                      <a:pt x="109" y="561"/>
                    </a:lnTo>
                    <a:lnTo>
                      <a:pt x="89" y="556"/>
                    </a:lnTo>
                    <a:lnTo>
                      <a:pt x="77" y="556"/>
                    </a:lnTo>
                    <a:lnTo>
                      <a:pt x="57" y="552"/>
                    </a:lnTo>
                    <a:lnTo>
                      <a:pt x="57" y="528"/>
                    </a:lnTo>
                    <a:lnTo>
                      <a:pt x="53" y="500"/>
                    </a:lnTo>
                    <a:lnTo>
                      <a:pt x="53" y="492"/>
                    </a:lnTo>
                    <a:lnTo>
                      <a:pt x="49" y="484"/>
                    </a:lnTo>
                    <a:lnTo>
                      <a:pt x="45" y="472"/>
                    </a:lnTo>
                    <a:lnTo>
                      <a:pt x="33" y="468"/>
                    </a:lnTo>
                    <a:lnTo>
                      <a:pt x="25" y="448"/>
                    </a:lnTo>
                    <a:lnTo>
                      <a:pt x="16" y="427"/>
                    </a:lnTo>
                    <a:lnTo>
                      <a:pt x="8" y="395"/>
                    </a:lnTo>
                    <a:lnTo>
                      <a:pt x="4" y="363"/>
                    </a:lnTo>
                    <a:lnTo>
                      <a:pt x="0" y="363"/>
                    </a:lnTo>
                    <a:lnTo>
                      <a:pt x="0" y="359"/>
                    </a:lnTo>
                    <a:lnTo>
                      <a:pt x="0" y="347"/>
                    </a:lnTo>
                    <a:lnTo>
                      <a:pt x="0" y="331"/>
                    </a:lnTo>
                    <a:lnTo>
                      <a:pt x="4" y="331"/>
                    </a:lnTo>
                    <a:lnTo>
                      <a:pt x="8" y="327"/>
                    </a:lnTo>
                    <a:lnTo>
                      <a:pt x="20" y="306"/>
                    </a:lnTo>
                    <a:lnTo>
                      <a:pt x="33" y="290"/>
                    </a:lnTo>
                    <a:lnTo>
                      <a:pt x="37" y="290"/>
                    </a:lnTo>
                    <a:lnTo>
                      <a:pt x="49" y="290"/>
                    </a:lnTo>
                    <a:lnTo>
                      <a:pt x="61" y="302"/>
                    </a:lnTo>
                    <a:lnTo>
                      <a:pt x="81" y="310"/>
                    </a:lnTo>
                    <a:lnTo>
                      <a:pt x="89" y="310"/>
                    </a:lnTo>
                    <a:lnTo>
                      <a:pt x="97" y="310"/>
                    </a:lnTo>
                    <a:lnTo>
                      <a:pt x="109" y="306"/>
                    </a:lnTo>
                    <a:lnTo>
                      <a:pt x="121" y="306"/>
                    </a:lnTo>
                    <a:lnTo>
                      <a:pt x="125" y="298"/>
                    </a:lnTo>
                    <a:lnTo>
                      <a:pt x="129" y="294"/>
                    </a:lnTo>
                    <a:lnTo>
                      <a:pt x="146" y="294"/>
                    </a:lnTo>
                    <a:lnTo>
                      <a:pt x="166" y="294"/>
                    </a:lnTo>
                    <a:lnTo>
                      <a:pt x="174" y="298"/>
                    </a:lnTo>
                    <a:lnTo>
                      <a:pt x="194" y="298"/>
                    </a:lnTo>
                    <a:lnTo>
                      <a:pt x="202" y="286"/>
                    </a:lnTo>
                    <a:lnTo>
                      <a:pt x="218" y="278"/>
                    </a:lnTo>
                    <a:lnTo>
                      <a:pt x="238" y="274"/>
                    </a:lnTo>
                    <a:lnTo>
                      <a:pt x="242" y="266"/>
                    </a:lnTo>
                    <a:lnTo>
                      <a:pt x="315" y="266"/>
                    </a:lnTo>
                    <a:lnTo>
                      <a:pt x="359" y="262"/>
                    </a:lnTo>
                    <a:lnTo>
                      <a:pt x="388" y="250"/>
                    </a:lnTo>
                    <a:lnTo>
                      <a:pt x="408" y="230"/>
                    </a:lnTo>
                    <a:lnTo>
                      <a:pt x="440" y="230"/>
                    </a:lnTo>
                    <a:lnTo>
                      <a:pt x="468" y="230"/>
                    </a:lnTo>
                    <a:lnTo>
                      <a:pt x="476" y="230"/>
                    </a:lnTo>
                    <a:lnTo>
                      <a:pt x="480" y="218"/>
                    </a:lnTo>
                    <a:lnTo>
                      <a:pt x="488" y="214"/>
                    </a:lnTo>
                    <a:lnTo>
                      <a:pt x="505" y="210"/>
                    </a:lnTo>
                    <a:lnTo>
                      <a:pt x="513" y="205"/>
                    </a:lnTo>
                    <a:lnTo>
                      <a:pt x="517" y="193"/>
                    </a:lnTo>
                    <a:lnTo>
                      <a:pt x="525" y="193"/>
                    </a:lnTo>
                    <a:lnTo>
                      <a:pt x="529" y="193"/>
                    </a:lnTo>
                    <a:lnTo>
                      <a:pt x="537" y="189"/>
                    </a:lnTo>
                    <a:lnTo>
                      <a:pt x="549" y="177"/>
                    </a:lnTo>
                    <a:lnTo>
                      <a:pt x="549" y="169"/>
                    </a:lnTo>
                    <a:lnTo>
                      <a:pt x="553" y="157"/>
                    </a:lnTo>
                    <a:lnTo>
                      <a:pt x="549" y="153"/>
                    </a:lnTo>
                    <a:lnTo>
                      <a:pt x="541" y="141"/>
                    </a:lnTo>
                    <a:lnTo>
                      <a:pt x="541" y="133"/>
                    </a:lnTo>
                    <a:lnTo>
                      <a:pt x="541" y="129"/>
                    </a:lnTo>
                    <a:lnTo>
                      <a:pt x="553" y="121"/>
                    </a:lnTo>
                    <a:lnTo>
                      <a:pt x="557" y="109"/>
                    </a:lnTo>
                    <a:lnTo>
                      <a:pt x="573" y="105"/>
                    </a:lnTo>
                    <a:lnTo>
                      <a:pt x="585" y="97"/>
                    </a:lnTo>
                    <a:lnTo>
                      <a:pt x="585" y="93"/>
                    </a:lnTo>
                    <a:lnTo>
                      <a:pt x="585" y="88"/>
                    </a:lnTo>
                    <a:lnTo>
                      <a:pt x="581" y="84"/>
                    </a:lnTo>
                    <a:lnTo>
                      <a:pt x="577" y="80"/>
                    </a:lnTo>
                    <a:lnTo>
                      <a:pt x="565" y="80"/>
                    </a:lnTo>
                    <a:lnTo>
                      <a:pt x="557" y="76"/>
                    </a:lnTo>
                    <a:lnTo>
                      <a:pt x="557" y="72"/>
                    </a:lnTo>
                    <a:lnTo>
                      <a:pt x="557" y="60"/>
                    </a:lnTo>
                    <a:lnTo>
                      <a:pt x="561" y="56"/>
                    </a:lnTo>
                    <a:lnTo>
                      <a:pt x="561" y="40"/>
                    </a:lnTo>
                    <a:lnTo>
                      <a:pt x="561" y="20"/>
                    </a:lnTo>
                    <a:lnTo>
                      <a:pt x="573" y="12"/>
                    </a:lnTo>
                    <a:lnTo>
                      <a:pt x="597" y="0"/>
                    </a:lnTo>
                    <a:lnTo>
                      <a:pt x="638" y="4"/>
                    </a:lnTo>
                    <a:lnTo>
                      <a:pt x="678" y="4"/>
                    </a:lnTo>
                    <a:lnTo>
                      <a:pt x="682" y="8"/>
                    </a:lnTo>
                    <a:lnTo>
                      <a:pt x="690" y="8"/>
                    </a:lnTo>
                    <a:lnTo>
                      <a:pt x="694" y="20"/>
                    </a:lnTo>
                    <a:lnTo>
                      <a:pt x="698" y="28"/>
                    </a:lnTo>
                    <a:lnTo>
                      <a:pt x="702" y="32"/>
                    </a:lnTo>
                    <a:lnTo>
                      <a:pt x="706" y="36"/>
                    </a:lnTo>
                    <a:lnTo>
                      <a:pt x="747" y="40"/>
                    </a:lnTo>
                    <a:lnTo>
                      <a:pt x="783" y="48"/>
                    </a:lnTo>
                    <a:lnTo>
                      <a:pt x="783" y="60"/>
                    </a:lnTo>
                    <a:lnTo>
                      <a:pt x="787" y="76"/>
                    </a:lnTo>
                    <a:lnTo>
                      <a:pt x="787" y="105"/>
                    </a:lnTo>
                    <a:lnTo>
                      <a:pt x="787" y="137"/>
                    </a:lnTo>
                    <a:lnTo>
                      <a:pt x="807" y="145"/>
                    </a:lnTo>
                    <a:lnTo>
                      <a:pt x="823" y="153"/>
                    </a:lnTo>
                    <a:lnTo>
                      <a:pt x="827" y="157"/>
                    </a:lnTo>
                    <a:lnTo>
                      <a:pt x="831" y="165"/>
                    </a:lnTo>
                    <a:lnTo>
                      <a:pt x="843" y="169"/>
                    </a:lnTo>
                    <a:lnTo>
                      <a:pt x="864" y="177"/>
                    </a:lnTo>
                    <a:lnTo>
                      <a:pt x="872" y="193"/>
                    </a:lnTo>
                    <a:lnTo>
                      <a:pt x="888" y="205"/>
                    </a:lnTo>
                    <a:lnTo>
                      <a:pt x="892" y="214"/>
                    </a:lnTo>
                    <a:lnTo>
                      <a:pt x="892" y="218"/>
                    </a:lnTo>
                    <a:lnTo>
                      <a:pt x="896" y="226"/>
                    </a:lnTo>
                    <a:lnTo>
                      <a:pt x="904" y="230"/>
                    </a:lnTo>
                    <a:lnTo>
                      <a:pt x="928" y="238"/>
                    </a:lnTo>
                    <a:lnTo>
                      <a:pt x="952" y="242"/>
                    </a:lnTo>
                    <a:lnTo>
                      <a:pt x="952" y="282"/>
                    </a:lnTo>
                    <a:lnTo>
                      <a:pt x="952" y="322"/>
                    </a:lnTo>
                    <a:lnTo>
                      <a:pt x="960" y="331"/>
                    </a:lnTo>
                    <a:lnTo>
                      <a:pt x="964" y="339"/>
                    </a:lnTo>
                    <a:lnTo>
                      <a:pt x="964" y="363"/>
                    </a:lnTo>
                    <a:lnTo>
                      <a:pt x="964" y="387"/>
                    </a:lnTo>
                    <a:lnTo>
                      <a:pt x="969" y="395"/>
                    </a:lnTo>
                    <a:lnTo>
                      <a:pt x="973" y="395"/>
                    </a:lnTo>
                    <a:lnTo>
                      <a:pt x="973" y="399"/>
                    </a:lnTo>
                    <a:lnTo>
                      <a:pt x="977" y="407"/>
                    </a:lnTo>
                    <a:lnTo>
                      <a:pt x="1021" y="435"/>
                    </a:lnTo>
                    <a:lnTo>
                      <a:pt x="1061" y="468"/>
                    </a:lnTo>
                    <a:lnTo>
                      <a:pt x="1065" y="496"/>
                    </a:lnTo>
                    <a:lnTo>
                      <a:pt x="1069" y="524"/>
                    </a:lnTo>
                    <a:lnTo>
                      <a:pt x="1081" y="536"/>
                    </a:lnTo>
                    <a:lnTo>
                      <a:pt x="1094" y="552"/>
                    </a:lnTo>
                    <a:lnTo>
                      <a:pt x="1094" y="561"/>
                    </a:lnTo>
                    <a:lnTo>
                      <a:pt x="1098" y="577"/>
                    </a:lnTo>
                    <a:lnTo>
                      <a:pt x="1110" y="581"/>
                    </a:lnTo>
                    <a:lnTo>
                      <a:pt x="1118" y="585"/>
                    </a:lnTo>
                    <a:lnTo>
                      <a:pt x="1118" y="593"/>
                    </a:lnTo>
                    <a:lnTo>
                      <a:pt x="1118" y="601"/>
                    </a:lnTo>
                    <a:lnTo>
                      <a:pt x="1114" y="601"/>
                    </a:lnTo>
                    <a:lnTo>
                      <a:pt x="1114" y="605"/>
                    </a:lnTo>
                    <a:lnTo>
                      <a:pt x="1110" y="641"/>
                    </a:lnTo>
                    <a:lnTo>
                      <a:pt x="1102" y="661"/>
                    </a:lnTo>
                    <a:lnTo>
                      <a:pt x="1098" y="669"/>
                    </a:lnTo>
                    <a:lnTo>
                      <a:pt x="1094" y="702"/>
                    </a:lnTo>
                    <a:lnTo>
                      <a:pt x="1090" y="706"/>
                    </a:lnTo>
                    <a:lnTo>
                      <a:pt x="1086" y="710"/>
                    </a:lnTo>
                    <a:lnTo>
                      <a:pt x="1081" y="710"/>
                    </a:lnTo>
                    <a:lnTo>
                      <a:pt x="1077" y="710"/>
                    </a:lnTo>
                    <a:lnTo>
                      <a:pt x="1069" y="706"/>
                    </a:lnTo>
                    <a:lnTo>
                      <a:pt x="1057" y="706"/>
                    </a:lnTo>
                    <a:lnTo>
                      <a:pt x="1041" y="706"/>
                    </a:lnTo>
                    <a:lnTo>
                      <a:pt x="1033" y="698"/>
                    </a:lnTo>
                    <a:lnTo>
                      <a:pt x="1025" y="690"/>
                    </a:lnTo>
                    <a:lnTo>
                      <a:pt x="989" y="682"/>
                    </a:lnTo>
                    <a:lnTo>
                      <a:pt x="977" y="678"/>
                    </a:lnTo>
                    <a:lnTo>
                      <a:pt x="960" y="673"/>
                    </a:lnTo>
                    <a:lnTo>
                      <a:pt x="940" y="673"/>
                    </a:lnTo>
                    <a:lnTo>
                      <a:pt x="936" y="669"/>
                    </a:lnTo>
                    <a:lnTo>
                      <a:pt x="928" y="669"/>
                    </a:lnTo>
                    <a:lnTo>
                      <a:pt x="916" y="669"/>
                    </a:lnTo>
                    <a:lnTo>
                      <a:pt x="900" y="669"/>
                    </a:lnTo>
                    <a:lnTo>
                      <a:pt x="892" y="673"/>
                    </a:lnTo>
                    <a:lnTo>
                      <a:pt x="876" y="678"/>
                    </a:lnTo>
                    <a:lnTo>
                      <a:pt x="876" y="682"/>
                    </a:lnTo>
                    <a:lnTo>
                      <a:pt x="872" y="690"/>
                    </a:lnTo>
                    <a:lnTo>
                      <a:pt x="864" y="710"/>
                    </a:lnTo>
                    <a:lnTo>
                      <a:pt x="856" y="738"/>
                    </a:lnTo>
                    <a:lnTo>
                      <a:pt x="835" y="750"/>
                    </a:lnTo>
                    <a:lnTo>
                      <a:pt x="819" y="762"/>
                    </a:lnTo>
                    <a:lnTo>
                      <a:pt x="795" y="766"/>
                    </a:lnTo>
                    <a:lnTo>
                      <a:pt x="783" y="774"/>
                    </a:lnTo>
                    <a:lnTo>
                      <a:pt x="771" y="774"/>
                    </a:lnTo>
                    <a:lnTo>
                      <a:pt x="755" y="774"/>
                    </a:lnTo>
                    <a:lnTo>
                      <a:pt x="743" y="766"/>
                    </a:lnTo>
                    <a:lnTo>
                      <a:pt x="722" y="762"/>
                    </a:lnTo>
                    <a:lnTo>
                      <a:pt x="714" y="762"/>
                    </a:lnTo>
                    <a:lnTo>
                      <a:pt x="698" y="762"/>
                    </a:lnTo>
                    <a:lnTo>
                      <a:pt x="694" y="766"/>
                    </a:lnTo>
                    <a:lnTo>
                      <a:pt x="682" y="774"/>
                    </a:lnTo>
                    <a:lnTo>
                      <a:pt x="662" y="774"/>
                    </a:lnTo>
                    <a:lnTo>
                      <a:pt x="638" y="77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34" name="Freeform 42"/>
              <p:cNvSpPr>
                <a:spLocks/>
              </p:cNvSpPr>
              <p:nvPr/>
            </p:nvSpPr>
            <p:spPr bwMode="auto">
              <a:xfrm>
                <a:off x="7340689" y="3554189"/>
                <a:ext cx="1114425" cy="726383"/>
              </a:xfrm>
              <a:custGeom>
                <a:avLst/>
                <a:gdLst>
                  <a:gd name="T0" fmla="*/ 2147483647 w 1242"/>
                  <a:gd name="T1" fmla="*/ 2147483647 h 815"/>
                  <a:gd name="T2" fmla="*/ 2147483647 w 1242"/>
                  <a:gd name="T3" fmla="*/ 2147483647 h 815"/>
                  <a:gd name="T4" fmla="*/ 2147483647 w 1242"/>
                  <a:gd name="T5" fmla="*/ 2147483647 h 815"/>
                  <a:gd name="T6" fmla="*/ 2147483647 w 1242"/>
                  <a:gd name="T7" fmla="*/ 2147483647 h 815"/>
                  <a:gd name="T8" fmla="*/ 2147483647 w 1242"/>
                  <a:gd name="T9" fmla="*/ 2147483647 h 815"/>
                  <a:gd name="T10" fmla="*/ 2147483647 w 1242"/>
                  <a:gd name="T11" fmla="*/ 2147483647 h 815"/>
                  <a:gd name="T12" fmla="*/ 2147483647 w 1242"/>
                  <a:gd name="T13" fmla="*/ 2147483647 h 815"/>
                  <a:gd name="T14" fmla="*/ 2147483647 w 1242"/>
                  <a:gd name="T15" fmla="*/ 2147483647 h 815"/>
                  <a:gd name="T16" fmla="*/ 2147483647 w 1242"/>
                  <a:gd name="T17" fmla="*/ 2147483647 h 815"/>
                  <a:gd name="T18" fmla="*/ 2147483647 w 1242"/>
                  <a:gd name="T19" fmla="*/ 2147483647 h 815"/>
                  <a:gd name="T20" fmla="*/ 2147483647 w 1242"/>
                  <a:gd name="T21" fmla="*/ 2147483647 h 815"/>
                  <a:gd name="T22" fmla="*/ 2147483647 w 1242"/>
                  <a:gd name="T23" fmla="*/ 2147483647 h 815"/>
                  <a:gd name="T24" fmla="*/ 2147483647 w 1242"/>
                  <a:gd name="T25" fmla="*/ 2147483647 h 815"/>
                  <a:gd name="T26" fmla="*/ 2147483647 w 1242"/>
                  <a:gd name="T27" fmla="*/ 2147483647 h 815"/>
                  <a:gd name="T28" fmla="*/ 2147483647 w 1242"/>
                  <a:gd name="T29" fmla="*/ 2147483647 h 815"/>
                  <a:gd name="T30" fmla="*/ 2147483647 w 1242"/>
                  <a:gd name="T31" fmla="*/ 2147483647 h 815"/>
                  <a:gd name="T32" fmla="*/ 2147483647 w 1242"/>
                  <a:gd name="T33" fmla="*/ 2147483647 h 815"/>
                  <a:gd name="T34" fmla="*/ 2147483647 w 1242"/>
                  <a:gd name="T35" fmla="*/ 2147483647 h 815"/>
                  <a:gd name="T36" fmla="*/ 2147483647 w 1242"/>
                  <a:gd name="T37" fmla="*/ 2147483647 h 815"/>
                  <a:gd name="T38" fmla="*/ 2147483647 w 1242"/>
                  <a:gd name="T39" fmla="*/ 2147483647 h 815"/>
                  <a:gd name="T40" fmla="*/ 2147483647 w 1242"/>
                  <a:gd name="T41" fmla="*/ 2147483647 h 815"/>
                  <a:gd name="T42" fmla="*/ 2147483647 w 1242"/>
                  <a:gd name="T43" fmla="*/ 2147483647 h 815"/>
                  <a:gd name="T44" fmla="*/ 2147483647 w 1242"/>
                  <a:gd name="T45" fmla="*/ 2147483647 h 815"/>
                  <a:gd name="T46" fmla="*/ 2147483647 w 1242"/>
                  <a:gd name="T47" fmla="*/ 2147483647 h 815"/>
                  <a:gd name="T48" fmla="*/ 2147483647 w 1242"/>
                  <a:gd name="T49" fmla="*/ 2147483647 h 815"/>
                  <a:gd name="T50" fmla="*/ 2147483647 w 1242"/>
                  <a:gd name="T51" fmla="*/ 2147483647 h 815"/>
                  <a:gd name="T52" fmla="*/ 2147483647 w 1242"/>
                  <a:gd name="T53" fmla="*/ 2147483647 h 815"/>
                  <a:gd name="T54" fmla="*/ 2147483647 w 1242"/>
                  <a:gd name="T55" fmla="*/ 0 h 815"/>
                  <a:gd name="T56" fmla="*/ 2147483647 w 1242"/>
                  <a:gd name="T57" fmla="*/ 2147483647 h 815"/>
                  <a:gd name="T58" fmla="*/ 2147483647 w 1242"/>
                  <a:gd name="T59" fmla="*/ 2147483647 h 815"/>
                  <a:gd name="T60" fmla="*/ 2147483647 w 1242"/>
                  <a:gd name="T61" fmla="*/ 2147483647 h 815"/>
                  <a:gd name="T62" fmla="*/ 2147483647 w 1242"/>
                  <a:gd name="T63" fmla="*/ 2147483647 h 815"/>
                  <a:gd name="T64" fmla="*/ 2147483647 w 1242"/>
                  <a:gd name="T65" fmla="*/ 2147483647 h 815"/>
                  <a:gd name="T66" fmla="*/ 2147483647 w 1242"/>
                  <a:gd name="T67" fmla="*/ 2147483647 h 815"/>
                  <a:gd name="T68" fmla="*/ 2147483647 w 1242"/>
                  <a:gd name="T69" fmla="*/ 2147483647 h 815"/>
                  <a:gd name="T70" fmla="*/ 2147483647 w 1242"/>
                  <a:gd name="T71" fmla="*/ 2147483647 h 815"/>
                  <a:gd name="T72" fmla="*/ 2147483647 w 1242"/>
                  <a:gd name="T73" fmla="*/ 2147483647 h 815"/>
                  <a:gd name="T74" fmla="*/ 2147483647 w 1242"/>
                  <a:gd name="T75" fmla="*/ 2147483647 h 815"/>
                  <a:gd name="T76" fmla="*/ 2147483647 w 1242"/>
                  <a:gd name="T77" fmla="*/ 2147483647 h 815"/>
                  <a:gd name="T78" fmla="*/ 2147483647 w 1242"/>
                  <a:gd name="T79" fmla="*/ 2147483647 h 815"/>
                  <a:gd name="T80" fmla="*/ 2147483647 w 1242"/>
                  <a:gd name="T81" fmla="*/ 2147483647 h 815"/>
                  <a:gd name="T82" fmla="*/ 2147483647 w 1242"/>
                  <a:gd name="T83" fmla="*/ 2147483647 h 815"/>
                  <a:gd name="T84" fmla="*/ 2147483647 w 1242"/>
                  <a:gd name="T85" fmla="*/ 2147483647 h 815"/>
                  <a:gd name="T86" fmla="*/ 2147483647 w 1242"/>
                  <a:gd name="T87" fmla="*/ 2147483647 h 815"/>
                  <a:gd name="T88" fmla="*/ 2147483647 w 1242"/>
                  <a:gd name="T89" fmla="*/ 2147483647 h 815"/>
                  <a:gd name="T90" fmla="*/ 2147483647 w 1242"/>
                  <a:gd name="T91" fmla="*/ 2147483647 h 815"/>
                  <a:gd name="T92" fmla="*/ 2147483647 w 1242"/>
                  <a:gd name="T93" fmla="*/ 2147483647 h 815"/>
                  <a:gd name="T94" fmla="*/ 2147483647 w 1242"/>
                  <a:gd name="T95" fmla="*/ 2147483647 h 815"/>
                  <a:gd name="T96" fmla="*/ 2147483647 w 1242"/>
                  <a:gd name="T97" fmla="*/ 2147483647 h 815"/>
                  <a:gd name="T98" fmla="*/ 2147483647 w 1242"/>
                  <a:gd name="T99" fmla="*/ 2147483647 h 815"/>
                  <a:gd name="T100" fmla="*/ 2147483647 w 1242"/>
                  <a:gd name="T101" fmla="*/ 2147483647 h 815"/>
                  <a:gd name="T102" fmla="*/ 2147483647 w 1242"/>
                  <a:gd name="T103" fmla="*/ 2147483647 h 815"/>
                  <a:gd name="T104" fmla="*/ 2147483647 w 1242"/>
                  <a:gd name="T105" fmla="*/ 2147483647 h 81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242"/>
                  <a:gd name="T160" fmla="*/ 0 h 815"/>
                  <a:gd name="T161" fmla="*/ 1242 w 1242"/>
                  <a:gd name="T162" fmla="*/ 815 h 815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242" h="815">
                    <a:moveTo>
                      <a:pt x="339" y="815"/>
                    </a:moveTo>
                    <a:lnTo>
                      <a:pt x="322" y="807"/>
                    </a:lnTo>
                    <a:lnTo>
                      <a:pt x="318" y="799"/>
                    </a:lnTo>
                    <a:lnTo>
                      <a:pt x="290" y="791"/>
                    </a:lnTo>
                    <a:lnTo>
                      <a:pt x="286" y="783"/>
                    </a:lnTo>
                    <a:lnTo>
                      <a:pt x="266" y="771"/>
                    </a:lnTo>
                    <a:lnTo>
                      <a:pt x="242" y="763"/>
                    </a:lnTo>
                    <a:lnTo>
                      <a:pt x="230" y="759"/>
                    </a:lnTo>
                    <a:lnTo>
                      <a:pt x="226" y="751"/>
                    </a:lnTo>
                    <a:lnTo>
                      <a:pt x="222" y="743"/>
                    </a:lnTo>
                    <a:lnTo>
                      <a:pt x="218" y="735"/>
                    </a:lnTo>
                    <a:lnTo>
                      <a:pt x="209" y="735"/>
                    </a:lnTo>
                    <a:lnTo>
                      <a:pt x="197" y="735"/>
                    </a:lnTo>
                    <a:lnTo>
                      <a:pt x="189" y="735"/>
                    </a:lnTo>
                    <a:lnTo>
                      <a:pt x="173" y="735"/>
                    </a:lnTo>
                    <a:lnTo>
                      <a:pt x="165" y="735"/>
                    </a:lnTo>
                    <a:lnTo>
                      <a:pt x="157" y="735"/>
                    </a:lnTo>
                    <a:lnTo>
                      <a:pt x="125" y="706"/>
                    </a:lnTo>
                    <a:lnTo>
                      <a:pt x="109" y="698"/>
                    </a:lnTo>
                    <a:lnTo>
                      <a:pt x="96" y="698"/>
                    </a:lnTo>
                    <a:lnTo>
                      <a:pt x="80" y="706"/>
                    </a:lnTo>
                    <a:lnTo>
                      <a:pt x="72" y="718"/>
                    </a:lnTo>
                    <a:lnTo>
                      <a:pt x="56" y="735"/>
                    </a:lnTo>
                    <a:lnTo>
                      <a:pt x="48" y="735"/>
                    </a:lnTo>
                    <a:lnTo>
                      <a:pt x="44" y="743"/>
                    </a:lnTo>
                    <a:lnTo>
                      <a:pt x="32" y="743"/>
                    </a:lnTo>
                    <a:lnTo>
                      <a:pt x="24" y="743"/>
                    </a:lnTo>
                    <a:lnTo>
                      <a:pt x="20" y="743"/>
                    </a:lnTo>
                    <a:lnTo>
                      <a:pt x="12" y="735"/>
                    </a:lnTo>
                    <a:lnTo>
                      <a:pt x="8" y="735"/>
                    </a:lnTo>
                    <a:lnTo>
                      <a:pt x="0" y="731"/>
                    </a:lnTo>
                    <a:lnTo>
                      <a:pt x="0" y="722"/>
                    </a:lnTo>
                    <a:lnTo>
                      <a:pt x="0" y="714"/>
                    </a:lnTo>
                    <a:lnTo>
                      <a:pt x="12" y="698"/>
                    </a:lnTo>
                    <a:lnTo>
                      <a:pt x="20" y="674"/>
                    </a:lnTo>
                    <a:lnTo>
                      <a:pt x="24" y="670"/>
                    </a:lnTo>
                    <a:lnTo>
                      <a:pt x="28" y="666"/>
                    </a:lnTo>
                    <a:lnTo>
                      <a:pt x="28" y="597"/>
                    </a:lnTo>
                    <a:lnTo>
                      <a:pt x="28" y="537"/>
                    </a:lnTo>
                    <a:lnTo>
                      <a:pt x="28" y="513"/>
                    </a:lnTo>
                    <a:lnTo>
                      <a:pt x="24" y="488"/>
                    </a:lnTo>
                    <a:lnTo>
                      <a:pt x="24" y="464"/>
                    </a:lnTo>
                    <a:lnTo>
                      <a:pt x="24" y="444"/>
                    </a:lnTo>
                    <a:lnTo>
                      <a:pt x="32" y="428"/>
                    </a:lnTo>
                    <a:lnTo>
                      <a:pt x="44" y="420"/>
                    </a:lnTo>
                    <a:lnTo>
                      <a:pt x="52" y="400"/>
                    </a:lnTo>
                    <a:lnTo>
                      <a:pt x="60" y="380"/>
                    </a:lnTo>
                    <a:lnTo>
                      <a:pt x="60" y="367"/>
                    </a:lnTo>
                    <a:lnTo>
                      <a:pt x="60" y="355"/>
                    </a:lnTo>
                    <a:lnTo>
                      <a:pt x="56" y="347"/>
                    </a:lnTo>
                    <a:lnTo>
                      <a:pt x="52" y="327"/>
                    </a:lnTo>
                    <a:lnTo>
                      <a:pt x="52" y="295"/>
                    </a:lnTo>
                    <a:lnTo>
                      <a:pt x="52" y="291"/>
                    </a:lnTo>
                    <a:lnTo>
                      <a:pt x="56" y="287"/>
                    </a:lnTo>
                    <a:lnTo>
                      <a:pt x="56" y="234"/>
                    </a:lnTo>
                    <a:lnTo>
                      <a:pt x="60" y="186"/>
                    </a:lnTo>
                    <a:lnTo>
                      <a:pt x="56" y="182"/>
                    </a:lnTo>
                    <a:lnTo>
                      <a:pt x="52" y="174"/>
                    </a:lnTo>
                    <a:lnTo>
                      <a:pt x="52" y="162"/>
                    </a:lnTo>
                    <a:lnTo>
                      <a:pt x="48" y="146"/>
                    </a:lnTo>
                    <a:lnTo>
                      <a:pt x="48" y="121"/>
                    </a:lnTo>
                    <a:lnTo>
                      <a:pt x="48" y="97"/>
                    </a:lnTo>
                    <a:lnTo>
                      <a:pt x="56" y="81"/>
                    </a:lnTo>
                    <a:lnTo>
                      <a:pt x="64" y="49"/>
                    </a:lnTo>
                    <a:lnTo>
                      <a:pt x="88" y="37"/>
                    </a:lnTo>
                    <a:lnTo>
                      <a:pt x="109" y="24"/>
                    </a:lnTo>
                    <a:lnTo>
                      <a:pt x="117" y="24"/>
                    </a:lnTo>
                    <a:lnTo>
                      <a:pt x="125" y="24"/>
                    </a:lnTo>
                    <a:lnTo>
                      <a:pt x="133" y="29"/>
                    </a:lnTo>
                    <a:lnTo>
                      <a:pt x="137" y="33"/>
                    </a:lnTo>
                    <a:lnTo>
                      <a:pt x="141" y="41"/>
                    </a:lnTo>
                    <a:lnTo>
                      <a:pt x="145" y="45"/>
                    </a:lnTo>
                    <a:lnTo>
                      <a:pt x="153" y="61"/>
                    </a:lnTo>
                    <a:lnTo>
                      <a:pt x="153" y="73"/>
                    </a:lnTo>
                    <a:lnTo>
                      <a:pt x="157" y="81"/>
                    </a:lnTo>
                    <a:lnTo>
                      <a:pt x="165" y="97"/>
                    </a:lnTo>
                    <a:lnTo>
                      <a:pt x="185" y="101"/>
                    </a:lnTo>
                    <a:lnTo>
                      <a:pt x="197" y="101"/>
                    </a:lnTo>
                    <a:lnTo>
                      <a:pt x="218" y="121"/>
                    </a:lnTo>
                    <a:lnTo>
                      <a:pt x="238" y="137"/>
                    </a:lnTo>
                    <a:lnTo>
                      <a:pt x="242" y="137"/>
                    </a:lnTo>
                    <a:lnTo>
                      <a:pt x="246" y="137"/>
                    </a:lnTo>
                    <a:lnTo>
                      <a:pt x="254" y="125"/>
                    </a:lnTo>
                    <a:lnTo>
                      <a:pt x="270" y="121"/>
                    </a:lnTo>
                    <a:lnTo>
                      <a:pt x="278" y="113"/>
                    </a:lnTo>
                    <a:lnTo>
                      <a:pt x="286" y="101"/>
                    </a:lnTo>
                    <a:lnTo>
                      <a:pt x="290" y="101"/>
                    </a:lnTo>
                    <a:lnTo>
                      <a:pt x="302" y="101"/>
                    </a:lnTo>
                    <a:lnTo>
                      <a:pt x="322" y="65"/>
                    </a:lnTo>
                    <a:lnTo>
                      <a:pt x="335" y="53"/>
                    </a:lnTo>
                    <a:lnTo>
                      <a:pt x="339" y="45"/>
                    </a:lnTo>
                    <a:lnTo>
                      <a:pt x="343" y="37"/>
                    </a:lnTo>
                    <a:lnTo>
                      <a:pt x="347" y="33"/>
                    </a:lnTo>
                    <a:lnTo>
                      <a:pt x="355" y="29"/>
                    </a:lnTo>
                    <a:lnTo>
                      <a:pt x="363" y="29"/>
                    </a:lnTo>
                    <a:lnTo>
                      <a:pt x="379" y="29"/>
                    </a:lnTo>
                    <a:lnTo>
                      <a:pt x="391" y="37"/>
                    </a:lnTo>
                    <a:lnTo>
                      <a:pt x="407" y="41"/>
                    </a:lnTo>
                    <a:lnTo>
                      <a:pt x="423" y="41"/>
                    </a:lnTo>
                    <a:lnTo>
                      <a:pt x="435" y="41"/>
                    </a:lnTo>
                    <a:lnTo>
                      <a:pt x="451" y="49"/>
                    </a:lnTo>
                    <a:lnTo>
                      <a:pt x="468" y="65"/>
                    </a:lnTo>
                    <a:lnTo>
                      <a:pt x="496" y="65"/>
                    </a:lnTo>
                    <a:lnTo>
                      <a:pt x="516" y="65"/>
                    </a:lnTo>
                    <a:lnTo>
                      <a:pt x="524" y="77"/>
                    </a:lnTo>
                    <a:lnTo>
                      <a:pt x="532" y="89"/>
                    </a:lnTo>
                    <a:lnTo>
                      <a:pt x="532" y="101"/>
                    </a:lnTo>
                    <a:lnTo>
                      <a:pt x="536" y="117"/>
                    </a:lnTo>
                    <a:lnTo>
                      <a:pt x="552" y="129"/>
                    </a:lnTo>
                    <a:lnTo>
                      <a:pt x="568" y="150"/>
                    </a:lnTo>
                    <a:lnTo>
                      <a:pt x="605" y="150"/>
                    </a:lnTo>
                    <a:lnTo>
                      <a:pt x="637" y="150"/>
                    </a:lnTo>
                    <a:lnTo>
                      <a:pt x="641" y="150"/>
                    </a:lnTo>
                    <a:lnTo>
                      <a:pt x="645" y="146"/>
                    </a:lnTo>
                    <a:lnTo>
                      <a:pt x="657" y="137"/>
                    </a:lnTo>
                    <a:lnTo>
                      <a:pt x="665" y="125"/>
                    </a:lnTo>
                    <a:lnTo>
                      <a:pt x="665" y="113"/>
                    </a:lnTo>
                    <a:lnTo>
                      <a:pt x="669" y="101"/>
                    </a:lnTo>
                    <a:lnTo>
                      <a:pt x="681" y="89"/>
                    </a:lnTo>
                    <a:lnTo>
                      <a:pt x="694" y="77"/>
                    </a:lnTo>
                    <a:lnTo>
                      <a:pt x="702" y="77"/>
                    </a:lnTo>
                    <a:lnTo>
                      <a:pt x="706" y="77"/>
                    </a:lnTo>
                    <a:lnTo>
                      <a:pt x="718" y="85"/>
                    </a:lnTo>
                    <a:lnTo>
                      <a:pt x="722" y="89"/>
                    </a:lnTo>
                    <a:lnTo>
                      <a:pt x="730" y="97"/>
                    </a:lnTo>
                    <a:lnTo>
                      <a:pt x="738" y="97"/>
                    </a:lnTo>
                    <a:lnTo>
                      <a:pt x="742" y="101"/>
                    </a:lnTo>
                    <a:lnTo>
                      <a:pt x="754" y="109"/>
                    </a:lnTo>
                    <a:lnTo>
                      <a:pt x="762" y="109"/>
                    </a:lnTo>
                    <a:lnTo>
                      <a:pt x="774" y="101"/>
                    </a:lnTo>
                    <a:lnTo>
                      <a:pt x="778" y="89"/>
                    </a:lnTo>
                    <a:lnTo>
                      <a:pt x="782" y="77"/>
                    </a:lnTo>
                    <a:lnTo>
                      <a:pt x="790" y="73"/>
                    </a:lnTo>
                    <a:lnTo>
                      <a:pt x="794" y="65"/>
                    </a:lnTo>
                    <a:lnTo>
                      <a:pt x="835" y="65"/>
                    </a:lnTo>
                    <a:lnTo>
                      <a:pt x="875" y="61"/>
                    </a:lnTo>
                    <a:lnTo>
                      <a:pt x="887" y="49"/>
                    </a:lnTo>
                    <a:lnTo>
                      <a:pt x="895" y="37"/>
                    </a:lnTo>
                    <a:lnTo>
                      <a:pt x="911" y="29"/>
                    </a:lnTo>
                    <a:lnTo>
                      <a:pt x="940" y="0"/>
                    </a:lnTo>
                    <a:lnTo>
                      <a:pt x="956" y="0"/>
                    </a:lnTo>
                    <a:lnTo>
                      <a:pt x="968" y="0"/>
                    </a:lnTo>
                    <a:lnTo>
                      <a:pt x="968" y="4"/>
                    </a:lnTo>
                    <a:lnTo>
                      <a:pt x="976" y="4"/>
                    </a:lnTo>
                    <a:lnTo>
                      <a:pt x="980" y="8"/>
                    </a:lnTo>
                    <a:lnTo>
                      <a:pt x="988" y="8"/>
                    </a:lnTo>
                    <a:lnTo>
                      <a:pt x="992" y="16"/>
                    </a:lnTo>
                    <a:lnTo>
                      <a:pt x="1000" y="33"/>
                    </a:lnTo>
                    <a:lnTo>
                      <a:pt x="1000" y="49"/>
                    </a:lnTo>
                    <a:lnTo>
                      <a:pt x="1000" y="65"/>
                    </a:lnTo>
                    <a:lnTo>
                      <a:pt x="1012" y="81"/>
                    </a:lnTo>
                    <a:lnTo>
                      <a:pt x="1053" y="101"/>
                    </a:lnTo>
                    <a:lnTo>
                      <a:pt x="1057" y="109"/>
                    </a:lnTo>
                    <a:lnTo>
                      <a:pt x="1065" y="109"/>
                    </a:lnTo>
                    <a:lnTo>
                      <a:pt x="1073" y="109"/>
                    </a:lnTo>
                    <a:lnTo>
                      <a:pt x="1081" y="101"/>
                    </a:lnTo>
                    <a:lnTo>
                      <a:pt x="1093" y="97"/>
                    </a:lnTo>
                    <a:lnTo>
                      <a:pt x="1097" y="97"/>
                    </a:lnTo>
                    <a:lnTo>
                      <a:pt x="1109" y="97"/>
                    </a:lnTo>
                    <a:lnTo>
                      <a:pt x="1129" y="101"/>
                    </a:lnTo>
                    <a:lnTo>
                      <a:pt x="1149" y="109"/>
                    </a:lnTo>
                    <a:lnTo>
                      <a:pt x="1157" y="117"/>
                    </a:lnTo>
                    <a:lnTo>
                      <a:pt x="1162" y="129"/>
                    </a:lnTo>
                    <a:lnTo>
                      <a:pt x="1170" y="154"/>
                    </a:lnTo>
                    <a:lnTo>
                      <a:pt x="1174" y="174"/>
                    </a:lnTo>
                    <a:lnTo>
                      <a:pt x="1178" y="182"/>
                    </a:lnTo>
                    <a:lnTo>
                      <a:pt x="1182" y="190"/>
                    </a:lnTo>
                    <a:lnTo>
                      <a:pt x="1194" y="194"/>
                    </a:lnTo>
                    <a:lnTo>
                      <a:pt x="1206" y="202"/>
                    </a:lnTo>
                    <a:lnTo>
                      <a:pt x="1226" y="206"/>
                    </a:lnTo>
                    <a:lnTo>
                      <a:pt x="1242" y="206"/>
                    </a:lnTo>
                    <a:lnTo>
                      <a:pt x="1242" y="214"/>
                    </a:lnTo>
                    <a:lnTo>
                      <a:pt x="1238" y="226"/>
                    </a:lnTo>
                    <a:lnTo>
                      <a:pt x="1230" y="230"/>
                    </a:lnTo>
                    <a:lnTo>
                      <a:pt x="1214" y="234"/>
                    </a:lnTo>
                    <a:lnTo>
                      <a:pt x="1202" y="246"/>
                    </a:lnTo>
                    <a:lnTo>
                      <a:pt x="1186" y="258"/>
                    </a:lnTo>
                    <a:lnTo>
                      <a:pt x="1186" y="263"/>
                    </a:lnTo>
                    <a:lnTo>
                      <a:pt x="1182" y="267"/>
                    </a:lnTo>
                    <a:lnTo>
                      <a:pt x="1174" y="279"/>
                    </a:lnTo>
                    <a:lnTo>
                      <a:pt x="1162" y="283"/>
                    </a:lnTo>
                    <a:lnTo>
                      <a:pt x="1141" y="315"/>
                    </a:lnTo>
                    <a:lnTo>
                      <a:pt x="1117" y="339"/>
                    </a:lnTo>
                    <a:lnTo>
                      <a:pt x="1117" y="347"/>
                    </a:lnTo>
                    <a:lnTo>
                      <a:pt x="1117" y="355"/>
                    </a:lnTo>
                    <a:lnTo>
                      <a:pt x="1117" y="363"/>
                    </a:lnTo>
                    <a:lnTo>
                      <a:pt x="1113" y="367"/>
                    </a:lnTo>
                    <a:lnTo>
                      <a:pt x="1113" y="380"/>
                    </a:lnTo>
                    <a:lnTo>
                      <a:pt x="1113" y="400"/>
                    </a:lnTo>
                    <a:lnTo>
                      <a:pt x="1109" y="400"/>
                    </a:lnTo>
                    <a:lnTo>
                      <a:pt x="1105" y="404"/>
                    </a:lnTo>
                    <a:lnTo>
                      <a:pt x="1077" y="404"/>
                    </a:lnTo>
                    <a:lnTo>
                      <a:pt x="1061" y="408"/>
                    </a:lnTo>
                    <a:lnTo>
                      <a:pt x="1040" y="416"/>
                    </a:lnTo>
                    <a:lnTo>
                      <a:pt x="1016" y="428"/>
                    </a:lnTo>
                    <a:lnTo>
                      <a:pt x="1004" y="444"/>
                    </a:lnTo>
                    <a:lnTo>
                      <a:pt x="988" y="460"/>
                    </a:lnTo>
                    <a:lnTo>
                      <a:pt x="984" y="476"/>
                    </a:lnTo>
                    <a:lnTo>
                      <a:pt x="984" y="488"/>
                    </a:lnTo>
                    <a:lnTo>
                      <a:pt x="988" y="505"/>
                    </a:lnTo>
                    <a:lnTo>
                      <a:pt x="1000" y="525"/>
                    </a:lnTo>
                    <a:lnTo>
                      <a:pt x="1000" y="537"/>
                    </a:lnTo>
                    <a:lnTo>
                      <a:pt x="1000" y="549"/>
                    </a:lnTo>
                    <a:lnTo>
                      <a:pt x="1004" y="553"/>
                    </a:lnTo>
                    <a:lnTo>
                      <a:pt x="1008" y="557"/>
                    </a:lnTo>
                    <a:lnTo>
                      <a:pt x="1008" y="561"/>
                    </a:lnTo>
                    <a:lnTo>
                      <a:pt x="1008" y="573"/>
                    </a:lnTo>
                    <a:lnTo>
                      <a:pt x="1004" y="577"/>
                    </a:lnTo>
                    <a:lnTo>
                      <a:pt x="1000" y="581"/>
                    </a:lnTo>
                    <a:lnTo>
                      <a:pt x="984" y="581"/>
                    </a:lnTo>
                    <a:lnTo>
                      <a:pt x="968" y="585"/>
                    </a:lnTo>
                    <a:lnTo>
                      <a:pt x="952" y="581"/>
                    </a:lnTo>
                    <a:lnTo>
                      <a:pt x="932" y="581"/>
                    </a:lnTo>
                    <a:lnTo>
                      <a:pt x="923" y="577"/>
                    </a:lnTo>
                    <a:lnTo>
                      <a:pt x="911" y="573"/>
                    </a:lnTo>
                    <a:lnTo>
                      <a:pt x="899" y="573"/>
                    </a:lnTo>
                    <a:lnTo>
                      <a:pt x="887" y="573"/>
                    </a:lnTo>
                    <a:lnTo>
                      <a:pt x="883" y="581"/>
                    </a:lnTo>
                    <a:lnTo>
                      <a:pt x="871" y="585"/>
                    </a:lnTo>
                    <a:lnTo>
                      <a:pt x="859" y="581"/>
                    </a:lnTo>
                    <a:lnTo>
                      <a:pt x="811" y="565"/>
                    </a:lnTo>
                    <a:lnTo>
                      <a:pt x="774" y="565"/>
                    </a:lnTo>
                    <a:lnTo>
                      <a:pt x="746" y="573"/>
                    </a:lnTo>
                    <a:lnTo>
                      <a:pt x="742" y="577"/>
                    </a:lnTo>
                    <a:lnTo>
                      <a:pt x="738" y="581"/>
                    </a:lnTo>
                    <a:lnTo>
                      <a:pt x="726" y="589"/>
                    </a:lnTo>
                    <a:lnTo>
                      <a:pt x="706" y="597"/>
                    </a:lnTo>
                    <a:lnTo>
                      <a:pt x="702" y="601"/>
                    </a:lnTo>
                    <a:lnTo>
                      <a:pt x="698" y="609"/>
                    </a:lnTo>
                    <a:lnTo>
                      <a:pt x="702" y="638"/>
                    </a:lnTo>
                    <a:lnTo>
                      <a:pt x="702" y="666"/>
                    </a:lnTo>
                    <a:lnTo>
                      <a:pt x="698" y="674"/>
                    </a:lnTo>
                    <a:lnTo>
                      <a:pt x="690" y="682"/>
                    </a:lnTo>
                    <a:lnTo>
                      <a:pt x="677" y="686"/>
                    </a:lnTo>
                    <a:lnTo>
                      <a:pt x="665" y="686"/>
                    </a:lnTo>
                    <a:lnTo>
                      <a:pt x="661" y="682"/>
                    </a:lnTo>
                    <a:lnTo>
                      <a:pt x="657" y="682"/>
                    </a:lnTo>
                    <a:lnTo>
                      <a:pt x="641" y="682"/>
                    </a:lnTo>
                    <a:lnTo>
                      <a:pt x="625" y="682"/>
                    </a:lnTo>
                    <a:lnTo>
                      <a:pt x="621" y="682"/>
                    </a:lnTo>
                    <a:lnTo>
                      <a:pt x="617" y="686"/>
                    </a:lnTo>
                    <a:lnTo>
                      <a:pt x="613" y="698"/>
                    </a:lnTo>
                    <a:lnTo>
                      <a:pt x="597" y="698"/>
                    </a:lnTo>
                    <a:lnTo>
                      <a:pt x="589" y="706"/>
                    </a:lnTo>
                    <a:lnTo>
                      <a:pt x="577" y="706"/>
                    </a:lnTo>
                    <a:lnTo>
                      <a:pt x="560" y="706"/>
                    </a:lnTo>
                    <a:lnTo>
                      <a:pt x="552" y="698"/>
                    </a:lnTo>
                    <a:lnTo>
                      <a:pt x="540" y="682"/>
                    </a:lnTo>
                    <a:lnTo>
                      <a:pt x="516" y="682"/>
                    </a:lnTo>
                    <a:lnTo>
                      <a:pt x="488" y="682"/>
                    </a:lnTo>
                    <a:lnTo>
                      <a:pt x="484" y="686"/>
                    </a:lnTo>
                    <a:lnTo>
                      <a:pt x="476" y="686"/>
                    </a:lnTo>
                    <a:lnTo>
                      <a:pt x="476" y="698"/>
                    </a:lnTo>
                    <a:lnTo>
                      <a:pt x="468" y="714"/>
                    </a:lnTo>
                    <a:lnTo>
                      <a:pt x="451" y="718"/>
                    </a:lnTo>
                    <a:lnTo>
                      <a:pt x="435" y="722"/>
                    </a:lnTo>
                    <a:lnTo>
                      <a:pt x="415" y="718"/>
                    </a:lnTo>
                    <a:lnTo>
                      <a:pt x="407" y="718"/>
                    </a:lnTo>
                    <a:lnTo>
                      <a:pt x="387" y="731"/>
                    </a:lnTo>
                    <a:lnTo>
                      <a:pt x="379" y="735"/>
                    </a:lnTo>
                    <a:lnTo>
                      <a:pt x="379" y="771"/>
                    </a:lnTo>
                    <a:lnTo>
                      <a:pt x="371" y="807"/>
                    </a:lnTo>
                    <a:lnTo>
                      <a:pt x="371" y="811"/>
                    </a:lnTo>
                    <a:lnTo>
                      <a:pt x="367" y="815"/>
                    </a:lnTo>
                    <a:lnTo>
                      <a:pt x="355" y="815"/>
                    </a:lnTo>
                    <a:lnTo>
                      <a:pt x="339" y="81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35" name="Freeform 43"/>
              <p:cNvSpPr>
                <a:spLocks/>
              </p:cNvSpPr>
              <p:nvPr/>
            </p:nvSpPr>
            <p:spPr bwMode="auto">
              <a:xfrm>
                <a:off x="785896" y="3414749"/>
                <a:ext cx="1122364" cy="608022"/>
              </a:xfrm>
              <a:custGeom>
                <a:avLst/>
                <a:gdLst>
                  <a:gd name="T0" fmla="*/ 35472956 w 1250"/>
                  <a:gd name="T1" fmla="*/ 494500887 h 682"/>
                  <a:gd name="T2" fmla="*/ 51597266 w 1250"/>
                  <a:gd name="T3" fmla="*/ 445735757 h 682"/>
                  <a:gd name="T4" fmla="*/ 48372045 w 1250"/>
                  <a:gd name="T5" fmla="*/ 368779796 h 682"/>
                  <a:gd name="T6" fmla="*/ 9674769 w 1250"/>
                  <a:gd name="T7" fmla="*/ 344398158 h 682"/>
                  <a:gd name="T8" fmla="*/ 0 w 1250"/>
                  <a:gd name="T9" fmla="*/ 326111057 h 682"/>
                  <a:gd name="T10" fmla="*/ 78201762 w 1250"/>
                  <a:gd name="T11" fmla="*/ 304014653 h 682"/>
                  <a:gd name="T12" fmla="*/ 113675602 w 1250"/>
                  <a:gd name="T13" fmla="*/ 307062794 h 682"/>
                  <a:gd name="T14" fmla="*/ 136248586 w 1250"/>
                  <a:gd name="T15" fmla="*/ 320015648 h 682"/>
                  <a:gd name="T16" fmla="*/ 166078289 w 1250"/>
                  <a:gd name="T17" fmla="*/ 310110062 h 682"/>
                  <a:gd name="T18" fmla="*/ 185427820 w 1250"/>
                  <a:gd name="T19" fmla="*/ 276584874 h 682"/>
                  <a:gd name="T20" fmla="*/ 276528698 w 1250"/>
                  <a:gd name="T21" fmla="*/ 214867818 h 682"/>
                  <a:gd name="T22" fmla="*/ 286203463 w 1250"/>
                  <a:gd name="T23" fmla="*/ 184389898 h 682"/>
                  <a:gd name="T24" fmla="*/ 299102552 w 1250"/>
                  <a:gd name="T25" fmla="*/ 125720164 h 682"/>
                  <a:gd name="T26" fmla="*/ 324901627 w 1250"/>
                  <a:gd name="T27" fmla="*/ 89146808 h 682"/>
                  <a:gd name="T28" fmla="*/ 341831343 w 1250"/>
                  <a:gd name="T29" fmla="*/ 39620611 h 682"/>
                  <a:gd name="T30" fmla="*/ 370855639 w 1250"/>
                  <a:gd name="T31" fmla="*/ 24382517 h 682"/>
                  <a:gd name="T32" fmla="*/ 406328581 w 1250"/>
                  <a:gd name="T33" fmla="*/ 30477933 h 682"/>
                  <a:gd name="T34" fmla="*/ 425677214 w 1250"/>
                  <a:gd name="T35" fmla="*/ 15238967 h 682"/>
                  <a:gd name="T36" fmla="*/ 474855662 w 1250"/>
                  <a:gd name="T37" fmla="*/ 0 h 682"/>
                  <a:gd name="T38" fmla="*/ 533708763 w 1250"/>
                  <a:gd name="T39" fmla="*/ 15238967 h 682"/>
                  <a:gd name="T40" fmla="*/ 611105090 w 1250"/>
                  <a:gd name="T41" fmla="*/ 36573343 h 682"/>
                  <a:gd name="T42" fmla="*/ 644159116 w 1250"/>
                  <a:gd name="T43" fmla="*/ 0 h 682"/>
                  <a:gd name="T44" fmla="*/ 705431133 w 1250"/>
                  <a:gd name="T45" fmla="*/ 9143554 h 682"/>
                  <a:gd name="T46" fmla="*/ 796532853 w 1250"/>
                  <a:gd name="T47" fmla="*/ 18286235 h 682"/>
                  <a:gd name="T48" fmla="*/ 836036424 w 1250"/>
                  <a:gd name="T49" fmla="*/ 12190822 h 682"/>
                  <a:gd name="T50" fmla="*/ 914239056 w 1250"/>
                  <a:gd name="T51" fmla="*/ 12190822 h 682"/>
                  <a:gd name="T52" fmla="*/ 949712222 w 1250"/>
                  <a:gd name="T53" fmla="*/ 18286235 h 682"/>
                  <a:gd name="T54" fmla="*/ 949712222 w 1250"/>
                  <a:gd name="T55" fmla="*/ 45716893 h 682"/>
                  <a:gd name="T56" fmla="*/ 920688600 w 1250"/>
                  <a:gd name="T57" fmla="*/ 52574338 h 682"/>
                  <a:gd name="T58" fmla="*/ 927138144 w 1250"/>
                  <a:gd name="T59" fmla="*/ 83051398 h 682"/>
                  <a:gd name="T60" fmla="*/ 1007759018 w 1250"/>
                  <a:gd name="T61" fmla="*/ 137911856 h 682"/>
                  <a:gd name="T62" fmla="*/ 988410386 w 1250"/>
                  <a:gd name="T63" fmla="*/ 150864710 h 682"/>
                  <a:gd name="T64" fmla="*/ 868285043 w 1250"/>
                  <a:gd name="T65" fmla="*/ 150864710 h 682"/>
                  <a:gd name="T66" fmla="*/ 861835499 w 1250"/>
                  <a:gd name="T67" fmla="*/ 190485307 h 682"/>
                  <a:gd name="T68" fmla="*/ 852160734 w 1250"/>
                  <a:gd name="T69" fmla="*/ 224011368 h 682"/>
                  <a:gd name="T70" fmla="*/ 858610278 w 1250"/>
                  <a:gd name="T71" fmla="*/ 243059686 h 682"/>
                  <a:gd name="T72" fmla="*/ 842486866 w 1250"/>
                  <a:gd name="T73" fmla="*/ 252203237 h 682"/>
                  <a:gd name="T74" fmla="*/ 839261645 w 1250"/>
                  <a:gd name="T75" fmla="*/ 267441323 h 682"/>
                  <a:gd name="T76" fmla="*/ 845711189 w 1250"/>
                  <a:gd name="T77" fmla="*/ 285728425 h 682"/>
                  <a:gd name="T78" fmla="*/ 786858088 w 1250"/>
                  <a:gd name="T79" fmla="*/ 323063789 h 682"/>
                  <a:gd name="T80" fmla="*/ 721555443 w 1250"/>
                  <a:gd name="T81" fmla="*/ 344398158 h 682"/>
                  <a:gd name="T82" fmla="*/ 611105090 w 1250"/>
                  <a:gd name="T83" fmla="*/ 353540836 h 682"/>
                  <a:gd name="T84" fmla="*/ 569182603 w 1250"/>
                  <a:gd name="T85" fmla="*/ 374875205 h 682"/>
                  <a:gd name="T86" fmla="*/ 536933984 w 1250"/>
                  <a:gd name="T87" fmla="*/ 371827937 h 682"/>
                  <a:gd name="T88" fmla="*/ 500654737 w 1250"/>
                  <a:gd name="T89" fmla="*/ 384018756 h 682"/>
                  <a:gd name="T90" fmla="*/ 465181683 w 1250"/>
                  <a:gd name="T91" fmla="*/ 371827937 h 682"/>
                  <a:gd name="T92" fmla="*/ 435351979 w 1250"/>
                  <a:gd name="T93" fmla="*/ 377923346 h 682"/>
                  <a:gd name="T94" fmla="*/ 419227670 w 1250"/>
                  <a:gd name="T95" fmla="*/ 396209574 h 682"/>
                  <a:gd name="T96" fmla="*/ 396653816 w 1250"/>
                  <a:gd name="T97" fmla="*/ 387066897 h 682"/>
                  <a:gd name="T98" fmla="*/ 279753919 w 1250"/>
                  <a:gd name="T99" fmla="*/ 365732527 h 682"/>
                  <a:gd name="T100" fmla="*/ 260405286 w 1250"/>
                  <a:gd name="T101" fmla="*/ 368779796 h 682"/>
                  <a:gd name="T102" fmla="*/ 257180065 w 1250"/>
                  <a:gd name="T103" fmla="*/ 412210569 h 682"/>
                  <a:gd name="T104" fmla="*/ 250730521 w 1250"/>
                  <a:gd name="T105" fmla="*/ 442688489 h 682"/>
                  <a:gd name="T106" fmla="*/ 224125983 w 1250"/>
                  <a:gd name="T107" fmla="*/ 427449529 h 682"/>
                  <a:gd name="T108" fmla="*/ 195101687 w 1250"/>
                  <a:gd name="T109" fmla="*/ 380970614 h 682"/>
                  <a:gd name="T110" fmla="*/ 172528731 w 1250"/>
                  <a:gd name="T111" fmla="*/ 380970614 h 682"/>
                  <a:gd name="T112" fmla="*/ 156404422 w 1250"/>
                  <a:gd name="T113" fmla="*/ 418305979 h 682"/>
                  <a:gd name="T114" fmla="*/ 149148572 w 1250"/>
                  <a:gd name="T115" fmla="*/ 442688489 h 682"/>
                  <a:gd name="T116" fmla="*/ 149148572 w 1250"/>
                  <a:gd name="T117" fmla="*/ 454879308 h 682"/>
                  <a:gd name="T118" fmla="*/ 126574718 w 1250"/>
                  <a:gd name="T119" fmla="*/ 485357337 h 682"/>
                  <a:gd name="T120" fmla="*/ 41922500 w 1250"/>
                  <a:gd name="T121" fmla="*/ 519644560 h 68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250"/>
                  <a:gd name="T184" fmla="*/ 0 h 682"/>
                  <a:gd name="T185" fmla="*/ 1250 w 1250"/>
                  <a:gd name="T186" fmla="*/ 682 h 68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250" h="682">
                    <a:moveTo>
                      <a:pt x="36" y="674"/>
                    </a:moveTo>
                    <a:lnTo>
                      <a:pt x="36" y="670"/>
                    </a:lnTo>
                    <a:lnTo>
                      <a:pt x="36" y="649"/>
                    </a:lnTo>
                    <a:lnTo>
                      <a:pt x="44" y="649"/>
                    </a:lnTo>
                    <a:lnTo>
                      <a:pt x="52" y="645"/>
                    </a:lnTo>
                    <a:lnTo>
                      <a:pt x="60" y="633"/>
                    </a:lnTo>
                    <a:lnTo>
                      <a:pt x="64" y="617"/>
                    </a:lnTo>
                    <a:lnTo>
                      <a:pt x="64" y="585"/>
                    </a:lnTo>
                    <a:lnTo>
                      <a:pt x="64" y="549"/>
                    </a:lnTo>
                    <a:lnTo>
                      <a:pt x="60" y="520"/>
                    </a:lnTo>
                    <a:lnTo>
                      <a:pt x="60" y="508"/>
                    </a:lnTo>
                    <a:lnTo>
                      <a:pt x="60" y="484"/>
                    </a:lnTo>
                    <a:lnTo>
                      <a:pt x="60" y="452"/>
                    </a:lnTo>
                    <a:lnTo>
                      <a:pt x="52" y="448"/>
                    </a:lnTo>
                    <a:lnTo>
                      <a:pt x="16" y="452"/>
                    </a:lnTo>
                    <a:lnTo>
                      <a:pt x="12" y="452"/>
                    </a:lnTo>
                    <a:lnTo>
                      <a:pt x="8" y="452"/>
                    </a:lnTo>
                    <a:lnTo>
                      <a:pt x="0" y="448"/>
                    </a:lnTo>
                    <a:lnTo>
                      <a:pt x="0" y="440"/>
                    </a:lnTo>
                    <a:lnTo>
                      <a:pt x="0" y="428"/>
                    </a:lnTo>
                    <a:lnTo>
                      <a:pt x="20" y="415"/>
                    </a:lnTo>
                    <a:lnTo>
                      <a:pt x="40" y="407"/>
                    </a:lnTo>
                    <a:lnTo>
                      <a:pt x="73" y="403"/>
                    </a:lnTo>
                    <a:lnTo>
                      <a:pt x="97" y="399"/>
                    </a:lnTo>
                    <a:lnTo>
                      <a:pt x="109" y="399"/>
                    </a:lnTo>
                    <a:lnTo>
                      <a:pt x="125" y="399"/>
                    </a:lnTo>
                    <a:lnTo>
                      <a:pt x="137" y="399"/>
                    </a:lnTo>
                    <a:lnTo>
                      <a:pt x="141" y="403"/>
                    </a:lnTo>
                    <a:lnTo>
                      <a:pt x="141" y="407"/>
                    </a:lnTo>
                    <a:lnTo>
                      <a:pt x="149" y="407"/>
                    </a:lnTo>
                    <a:lnTo>
                      <a:pt x="157" y="415"/>
                    </a:lnTo>
                    <a:lnTo>
                      <a:pt x="169" y="420"/>
                    </a:lnTo>
                    <a:lnTo>
                      <a:pt x="185" y="420"/>
                    </a:lnTo>
                    <a:lnTo>
                      <a:pt x="202" y="420"/>
                    </a:lnTo>
                    <a:lnTo>
                      <a:pt x="206" y="411"/>
                    </a:lnTo>
                    <a:lnTo>
                      <a:pt x="206" y="407"/>
                    </a:lnTo>
                    <a:lnTo>
                      <a:pt x="218" y="399"/>
                    </a:lnTo>
                    <a:lnTo>
                      <a:pt x="226" y="387"/>
                    </a:lnTo>
                    <a:lnTo>
                      <a:pt x="230" y="379"/>
                    </a:lnTo>
                    <a:lnTo>
                      <a:pt x="230" y="363"/>
                    </a:lnTo>
                    <a:lnTo>
                      <a:pt x="246" y="355"/>
                    </a:lnTo>
                    <a:lnTo>
                      <a:pt x="274" y="343"/>
                    </a:lnTo>
                    <a:lnTo>
                      <a:pt x="307" y="311"/>
                    </a:lnTo>
                    <a:lnTo>
                      <a:pt x="343" y="282"/>
                    </a:lnTo>
                    <a:lnTo>
                      <a:pt x="347" y="262"/>
                    </a:lnTo>
                    <a:lnTo>
                      <a:pt x="351" y="250"/>
                    </a:lnTo>
                    <a:lnTo>
                      <a:pt x="351" y="246"/>
                    </a:lnTo>
                    <a:lnTo>
                      <a:pt x="355" y="242"/>
                    </a:lnTo>
                    <a:lnTo>
                      <a:pt x="355" y="230"/>
                    </a:lnTo>
                    <a:lnTo>
                      <a:pt x="355" y="214"/>
                    </a:lnTo>
                    <a:lnTo>
                      <a:pt x="363" y="186"/>
                    </a:lnTo>
                    <a:lnTo>
                      <a:pt x="371" y="165"/>
                    </a:lnTo>
                    <a:lnTo>
                      <a:pt x="383" y="141"/>
                    </a:lnTo>
                    <a:lnTo>
                      <a:pt x="395" y="133"/>
                    </a:lnTo>
                    <a:lnTo>
                      <a:pt x="399" y="121"/>
                    </a:lnTo>
                    <a:lnTo>
                      <a:pt x="403" y="117"/>
                    </a:lnTo>
                    <a:lnTo>
                      <a:pt x="407" y="109"/>
                    </a:lnTo>
                    <a:lnTo>
                      <a:pt x="415" y="101"/>
                    </a:lnTo>
                    <a:lnTo>
                      <a:pt x="424" y="81"/>
                    </a:lnTo>
                    <a:lnTo>
                      <a:pt x="424" y="52"/>
                    </a:lnTo>
                    <a:lnTo>
                      <a:pt x="424" y="44"/>
                    </a:lnTo>
                    <a:lnTo>
                      <a:pt x="424" y="32"/>
                    </a:lnTo>
                    <a:lnTo>
                      <a:pt x="440" y="32"/>
                    </a:lnTo>
                    <a:lnTo>
                      <a:pt x="460" y="32"/>
                    </a:lnTo>
                    <a:lnTo>
                      <a:pt x="464" y="40"/>
                    </a:lnTo>
                    <a:lnTo>
                      <a:pt x="468" y="44"/>
                    </a:lnTo>
                    <a:lnTo>
                      <a:pt x="488" y="44"/>
                    </a:lnTo>
                    <a:lnTo>
                      <a:pt x="504" y="40"/>
                    </a:lnTo>
                    <a:lnTo>
                      <a:pt x="504" y="36"/>
                    </a:lnTo>
                    <a:lnTo>
                      <a:pt x="512" y="32"/>
                    </a:lnTo>
                    <a:lnTo>
                      <a:pt x="524" y="24"/>
                    </a:lnTo>
                    <a:lnTo>
                      <a:pt x="528" y="20"/>
                    </a:lnTo>
                    <a:lnTo>
                      <a:pt x="545" y="16"/>
                    </a:lnTo>
                    <a:lnTo>
                      <a:pt x="553" y="12"/>
                    </a:lnTo>
                    <a:lnTo>
                      <a:pt x="573" y="8"/>
                    </a:lnTo>
                    <a:lnTo>
                      <a:pt x="589" y="0"/>
                    </a:lnTo>
                    <a:lnTo>
                      <a:pt x="605" y="0"/>
                    </a:lnTo>
                    <a:lnTo>
                      <a:pt x="621" y="0"/>
                    </a:lnTo>
                    <a:lnTo>
                      <a:pt x="641" y="8"/>
                    </a:lnTo>
                    <a:lnTo>
                      <a:pt x="662" y="20"/>
                    </a:lnTo>
                    <a:lnTo>
                      <a:pt x="670" y="32"/>
                    </a:lnTo>
                    <a:lnTo>
                      <a:pt x="682" y="44"/>
                    </a:lnTo>
                    <a:lnTo>
                      <a:pt x="718" y="48"/>
                    </a:lnTo>
                    <a:lnTo>
                      <a:pt x="758" y="48"/>
                    </a:lnTo>
                    <a:lnTo>
                      <a:pt x="774" y="32"/>
                    </a:lnTo>
                    <a:lnTo>
                      <a:pt x="795" y="12"/>
                    </a:lnTo>
                    <a:lnTo>
                      <a:pt x="795" y="8"/>
                    </a:lnTo>
                    <a:lnTo>
                      <a:pt x="799" y="0"/>
                    </a:lnTo>
                    <a:lnTo>
                      <a:pt x="815" y="0"/>
                    </a:lnTo>
                    <a:lnTo>
                      <a:pt x="823" y="0"/>
                    </a:lnTo>
                    <a:lnTo>
                      <a:pt x="847" y="4"/>
                    </a:lnTo>
                    <a:lnTo>
                      <a:pt x="875" y="12"/>
                    </a:lnTo>
                    <a:lnTo>
                      <a:pt x="928" y="16"/>
                    </a:lnTo>
                    <a:lnTo>
                      <a:pt x="976" y="16"/>
                    </a:lnTo>
                    <a:lnTo>
                      <a:pt x="984" y="20"/>
                    </a:lnTo>
                    <a:lnTo>
                      <a:pt x="988" y="24"/>
                    </a:lnTo>
                    <a:lnTo>
                      <a:pt x="1008" y="24"/>
                    </a:lnTo>
                    <a:lnTo>
                      <a:pt x="1021" y="24"/>
                    </a:lnTo>
                    <a:lnTo>
                      <a:pt x="1033" y="20"/>
                    </a:lnTo>
                    <a:lnTo>
                      <a:pt x="1037" y="16"/>
                    </a:lnTo>
                    <a:lnTo>
                      <a:pt x="1089" y="8"/>
                    </a:lnTo>
                    <a:lnTo>
                      <a:pt x="1109" y="8"/>
                    </a:lnTo>
                    <a:lnTo>
                      <a:pt x="1121" y="12"/>
                    </a:lnTo>
                    <a:lnTo>
                      <a:pt x="1134" y="16"/>
                    </a:lnTo>
                    <a:lnTo>
                      <a:pt x="1154" y="16"/>
                    </a:lnTo>
                    <a:lnTo>
                      <a:pt x="1174" y="20"/>
                    </a:lnTo>
                    <a:lnTo>
                      <a:pt x="1174" y="24"/>
                    </a:lnTo>
                    <a:lnTo>
                      <a:pt x="1178" y="24"/>
                    </a:lnTo>
                    <a:lnTo>
                      <a:pt x="1186" y="40"/>
                    </a:lnTo>
                    <a:lnTo>
                      <a:pt x="1186" y="52"/>
                    </a:lnTo>
                    <a:lnTo>
                      <a:pt x="1178" y="56"/>
                    </a:lnTo>
                    <a:lnTo>
                      <a:pt x="1178" y="60"/>
                    </a:lnTo>
                    <a:lnTo>
                      <a:pt x="1162" y="60"/>
                    </a:lnTo>
                    <a:lnTo>
                      <a:pt x="1150" y="60"/>
                    </a:lnTo>
                    <a:lnTo>
                      <a:pt x="1150" y="64"/>
                    </a:lnTo>
                    <a:lnTo>
                      <a:pt x="1142" y="69"/>
                    </a:lnTo>
                    <a:lnTo>
                      <a:pt x="1142" y="81"/>
                    </a:lnTo>
                    <a:lnTo>
                      <a:pt x="1142" y="93"/>
                    </a:lnTo>
                    <a:lnTo>
                      <a:pt x="1146" y="101"/>
                    </a:lnTo>
                    <a:lnTo>
                      <a:pt x="1150" y="109"/>
                    </a:lnTo>
                    <a:lnTo>
                      <a:pt x="1166" y="137"/>
                    </a:lnTo>
                    <a:lnTo>
                      <a:pt x="1190" y="161"/>
                    </a:lnTo>
                    <a:lnTo>
                      <a:pt x="1222" y="169"/>
                    </a:lnTo>
                    <a:lnTo>
                      <a:pt x="1250" y="181"/>
                    </a:lnTo>
                    <a:lnTo>
                      <a:pt x="1250" y="186"/>
                    </a:lnTo>
                    <a:lnTo>
                      <a:pt x="1250" y="194"/>
                    </a:lnTo>
                    <a:lnTo>
                      <a:pt x="1238" y="198"/>
                    </a:lnTo>
                    <a:lnTo>
                      <a:pt x="1226" y="198"/>
                    </a:lnTo>
                    <a:lnTo>
                      <a:pt x="1158" y="198"/>
                    </a:lnTo>
                    <a:lnTo>
                      <a:pt x="1097" y="198"/>
                    </a:lnTo>
                    <a:lnTo>
                      <a:pt x="1089" y="198"/>
                    </a:lnTo>
                    <a:lnTo>
                      <a:pt x="1077" y="198"/>
                    </a:lnTo>
                    <a:lnTo>
                      <a:pt x="1073" y="210"/>
                    </a:lnTo>
                    <a:lnTo>
                      <a:pt x="1069" y="222"/>
                    </a:lnTo>
                    <a:lnTo>
                      <a:pt x="1069" y="238"/>
                    </a:lnTo>
                    <a:lnTo>
                      <a:pt x="1069" y="250"/>
                    </a:lnTo>
                    <a:lnTo>
                      <a:pt x="1065" y="262"/>
                    </a:lnTo>
                    <a:lnTo>
                      <a:pt x="1057" y="282"/>
                    </a:lnTo>
                    <a:lnTo>
                      <a:pt x="1057" y="286"/>
                    </a:lnTo>
                    <a:lnTo>
                      <a:pt x="1057" y="294"/>
                    </a:lnTo>
                    <a:lnTo>
                      <a:pt x="1061" y="298"/>
                    </a:lnTo>
                    <a:lnTo>
                      <a:pt x="1065" y="303"/>
                    </a:lnTo>
                    <a:lnTo>
                      <a:pt x="1065" y="311"/>
                    </a:lnTo>
                    <a:lnTo>
                      <a:pt x="1065" y="319"/>
                    </a:lnTo>
                    <a:lnTo>
                      <a:pt x="1061" y="319"/>
                    </a:lnTo>
                    <a:lnTo>
                      <a:pt x="1061" y="327"/>
                    </a:lnTo>
                    <a:lnTo>
                      <a:pt x="1057" y="331"/>
                    </a:lnTo>
                    <a:lnTo>
                      <a:pt x="1045" y="331"/>
                    </a:lnTo>
                    <a:lnTo>
                      <a:pt x="1041" y="335"/>
                    </a:lnTo>
                    <a:lnTo>
                      <a:pt x="1041" y="339"/>
                    </a:lnTo>
                    <a:lnTo>
                      <a:pt x="1041" y="343"/>
                    </a:lnTo>
                    <a:lnTo>
                      <a:pt x="1041" y="351"/>
                    </a:lnTo>
                    <a:lnTo>
                      <a:pt x="1045" y="355"/>
                    </a:lnTo>
                    <a:lnTo>
                      <a:pt x="1049" y="363"/>
                    </a:lnTo>
                    <a:lnTo>
                      <a:pt x="1049" y="367"/>
                    </a:lnTo>
                    <a:lnTo>
                      <a:pt x="1049" y="375"/>
                    </a:lnTo>
                    <a:lnTo>
                      <a:pt x="1041" y="387"/>
                    </a:lnTo>
                    <a:lnTo>
                      <a:pt x="1029" y="403"/>
                    </a:lnTo>
                    <a:lnTo>
                      <a:pt x="1004" y="415"/>
                    </a:lnTo>
                    <a:lnTo>
                      <a:pt x="976" y="424"/>
                    </a:lnTo>
                    <a:lnTo>
                      <a:pt x="952" y="424"/>
                    </a:lnTo>
                    <a:lnTo>
                      <a:pt x="924" y="428"/>
                    </a:lnTo>
                    <a:lnTo>
                      <a:pt x="908" y="440"/>
                    </a:lnTo>
                    <a:lnTo>
                      <a:pt x="895" y="452"/>
                    </a:lnTo>
                    <a:lnTo>
                      <a:pt x="867" y="460"/>
                    </a:lnTo>
                    <a:lnTo>
                      <a:pt x="867" y="464"/>
                    </a:lnTo>
                    <a:lnTo>
                      <a:pt x="811" y="464"/>
                    </a:lnTo>
                    <a:lnTo>
                      <a:pt x="758" y="464"/>
                    </a:lnTo>
                    <a:lnTo>
                      <a:pt x="746" y="468"/>
                    </a:lnTo>
                    <a:lnTo>
                      <a:pt x="734" y="472"/>
                    </a:lnTo>
                    <a:lnTo>
                      <a:pt x="718" y="484"/>
                    </a:lnTo>
                    <a:lnTo>
                      <a:pt x="706" y="492"/>
                    </a:lnTo>
                    <a:lnTo>
                      <a:pt x="702" y="492"/>
                    </a:lnTo>
                    <a:lnTo>
                      <a:pt x="694" y="492"/>
                    </a:lnTo>
                    <a:lnTo>
                      <a:pt x="682" y="492"/>
                    </a:lnTo>
                    <a:lnTo>
                      <a:pt x="666" y="488"/>
                    </a:lnTo>
                    <a:lnTo>
                      <a:pt x="662" y="488"/>
                    </a:lnTo>
                    <a:lnTo>
                      <a:pt x="657" y="488"/>
                    </a:lnTo>
                    <a:lnTo>
                      <a:pt x="641" y="496"/>
                    </a:lnTo>
                    <a:lnTo>
                      <a:pt x="621" y="504"/>
                    </a:lnTo>
                    <a:lnTo>
                      <a:pt x="609" y="504"/>
                    </a:lnTo>
                    <a:lnTo>
                      <a:pt x="601" y="504"/>
                    </a:lnTo>
                    <a:lnTo>
                      <a:pt x="593" y="500"/>
                    </a:lnTo>
                    <a:lnTo>
                      <a:pt x="577" y="488"/>
                    </a:lnTo>
                    <a:lnTo>
                      <a:pt x="569" y="488"/>
                    </a:lnTo>
                    <a:lnTo>
                      <a:pt x="553" y="488"/>
                    </a:lnTo>
                    <a:lnTo>
                      <a:pt x="545" y="492"/>
                    </a:lnTo>
                    <a:lnTo>
                      <a:pt x="540" y="496"/>
                    </a:lnTo>
                    <a:lnTo>
                      <a:pt x="536" y="504"/>
                    </a:lnTo>
                    <a:lnTo>
                      <a:pt x="528" y="512"/>
                    </a:lnTo>
                    <a:lnTo>
                      <a:pt x="524" y="520"/>
                    </a:lnTo>
                    <a:lnTo>
                      <a:pt x="520" y="520"/>
                    </a:lnTo>
                    <a:lnTo>
                      <a:pt x="516" y="520"/>
                    </a:lnTo>
                    <a:lnTo>
                      <a:pt x="504" y="520"/>
                    </a:lnTo>
                    <a:lnTo>
                      <a:pt x="500" y="512"/>
                    </a:lnTo>
                    <a:lnTo>
                      <a:pt x="492" y="508"/>
                    </a:lnTo>
                    <a:lnTo>
                      <a:pt x="460" y="500"/>
                    </a:lnTo>
                    <a:lnTo>
                      <a:pt x="424" y="492"/>
                    </a:lnTo>
                    <a:lnTo>
                      <a:pt x="383" y="484"/>
                    </a:lnTo>
                    <a:lnTo>
                      <a:pt x="347" y="480"/>
                    </a:lnTo>
                    <a:lnTo>
                      <a:pt x="343" y="480"/>
                    </a:lnTo>
                    <a:lnTo>
                      <a:pt x="335" y="480"/>
                    </a:lnTo>
                    <a:lnTo>
                      <a:pt x="327" y="484"/>
                    </a:lnTo>
                    <a:lnTo>
                      <a:pt x="323" y="484"/>
                    </a:lnTo>
                    <a:lnTo>
                      <a:pt x="319" y="500"/>
                    </a:lnTo>
                    <a:lnTo>
                      <a:pt x="319" y="512"/>
                    </a:lnTo>
                    <a:lnTo>
                      <a:pt x="319" y="528"/>
                    </a:lnTo>
                    <a:lnTo>
                      <a:pt x="319" y="541"/>
                    </a:lnTo>
                    <a:lnTo>
                      <a:pt x="319" y="557"/>
                    </a:lnTo>
                    <a:lnTo>
                      <a:pt x="323" y="569"/>
                    </a:lnTo>
                    <a:lnTo>
                      <a:pt x="319" y="577"/>
                    </a:lnTo>
                    <a:lnTo>
                      <a:pt x="311" y="581"/>
                    </a:lnTo>
                    <a:lnTo>
                      <a:pt x="302" y="581"/>
                    </a:lnTo>
                    <a:lnTo>
                      <a:pt x="290" y="581"/>
                    </a:lnTo>
                    <a:lnTo>
                      <a:pt x="286" y="577"/>
                    </a:lnTo>
                    <a:lnTo>
                      <a:pt x="278" y="561"/>
                    </a:lnTo>
                    <a:lnTo>
                      <a:pt x="278" y="549"/>
                    </a:lnTo>
                    <a:lnTo>
                      <a:pt x="266" y="532"/>
                    </a:lnTo>
                    <a:lnTo>
                      <a:pt x="254" y="504"/>
                    </a:lnTo>
                    <a:lnTo>
                      <a:pt x="242" y="500"/>
                    </a:lnTo>
                    <a:lnTo>
                      <a:pt x="238" y="492"/>
                    </a:lnTo>
                    <a:lnTo>
                      <a:pt x="226" y="492"/>
                    </a:lnTo>
                    <a:lnTo>
                      <a:pt x="222" y="492"/>
                    </a:lnTo>
                    <a:lnTo>
                      <a:pt x="214" y="500"/>
                    </a:lnTo>
                    <a:lnTo>
                      <a:pt x="206" y="508"/>
                    </a:lnTo>
                    <a:lnTo>
                      <a:pt x="206" y="520"/>
                    </a:lnTo>
                    <a:lnTo>
                      <a:pt x="202" y="532"/>
                    </a:lnTo>
                    <a:lnTo>
                      <a:pt x="194" y="549"/>
                    </a:lnTo>
                    <a:lnTo>
                      <a:pt x="185" y="569"/>
                    </a:lnTo>
                    <a:lnTo>
                      <a:pt x="185" y="573"/>
                    </a:lnTo>
                    <a:lnTo>
                      <a:pt x="185" y="577"/>
                    </a:lnTo>
                    <a:lnTo>
                      <a:pt x="185" y="581"/>
                    </a:lnTo>
                    <a:lnTo>
                      <a:pt x="190" y="581"/>
                    </a:lnTo>
                    <a:lnTo>
                      <a:pt x="190" y="589"/>
                    </a:lnTo>
                    <a:lnTo>
                      <a:pt x="190" y="597"/>
                    </a:lnTo>
                    <a:lnTo>
                      <a:pt x="185" y="597"/>
                    </a:lnTo>
                    <a:lnTo>
                      <a:pt x="181" y="613"/>
                    </a:lnTo>
                    <a:lnTo>
                      <a:pt x="181" y="625"/>
                    </a:lnTo>
                    <a:lnTo>
                      <a:pt x="165" y="633"/>
                    </a:lnTo>
                    <a:lnTo>
                      <a:pt x="157" y="637"/>
                    </a:lnTo>
                    <a:lnTo>
                      <a:pt x="125" y="649"/>
                    </a:lnTo>
                    <a:lnTo>
                      <a:pt x="97" y="662"/>
                    </a:lnTo>
                    <a:lnTo>
                      <a:pt x="77" y="666"/>
                    </a:lnTo>
                    <a:lnTo>
                      <a:pt x="52" y="682"/>
                    </a:lnTo>
                    <a:lnTo>
                      <a:pt x="44" y="682"/>
                    </a:lnTo>
                    <a:lnTo>
                      <a:pt x="36" y="67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800" b="1">
                  <a:cs typeface="+mn-cs"/>
                </a:endParaRPr>
              </a:p>
            </p:txBody>
          </p:sp>
          <p:sp>
            <p:nvSpPr>
              <p:cNvPr id="36" name="Freeform 44"/>
              <p:cNvSpPr>
                <a:spLocks/>
              </p:cNvSpPr>
              <p:nvPr/>
            </p:nvSpPr>
            <p:spPr bwMode="auto">
              <a:xfrm>
                <a:off x="2521036" y="3006158"/>
                <a:ext cx="1071563" cy="946893"/>
              </a:xfrm>
              <a:custGeom>
                <a:avLst/>
                <a:gdLst>
                  <a:gd name="T0" fmla="*/ 285926661 w 1194"/>
                  <a:gd name="T1" fmla="*/ 770681119 h 1065"/>
                  <a:gd name="T2" fmla="*/ 231157603 w 1194"/>
                  <a:gd name="T3" fmla="*/ 727486984 h 1065"/>
                  <a:gd name="T4" fmla="*/ 182026416 w 1194"/>
                  <a:gd name="T5" fmla="*/ 691112472 h 1065"/>
                  <a:gd name="T6" fmla="*/ 162696128 w 1194"/>
                  <a:gd name="T7" fmla="*/ 644886329 h 1065"/>
                  <a:gd name="T8" fmla="*/ 146587703 w 1194"/>
                  <a:gd name="T9" fmla="*/ 608512687 h 1065"/>
                  <a:gd name="T10" fmla="*/ 124035551 w 1194"/>
                  <a:gd name="T11" fmla="*/ 538037450 h 1065"/>
                  <a:gd name="T12" fmla="*/ 97456488 w 1194"/>
                  <a:gd name="T13" fmla="*/ 495600664 h 1065"/>
                  <a:gd name="T14" fmla="*/ 62017775 w 1194"/>
                  <a:gd name="T15" fmla="*/ 378899176 h 1065"/>
                  <a:gd name="T16" fmla="*/ 33022777 w 1194"/>
                  <a:gd name="T17" fmla="*/ 333431253 h 1065"/>
                  <a:gd name="T18" fmla="*/ 12886563 w 1194"/>
                  <a:gd name="T19" fmla="*/ 232644648 h 1065"/>
                  <a:gd name="T20" fmla="*/ 0 w 1194"/>
                  <a:gd name="T21" fmla="*/ 128067762 h 1065"/>
                  <a:gd name="T22" fmla="*/ 36243744 w 1194"/>
                  <a:gd name="T23" fmla="*/ 100787503 h 1065"/>
                  <a:gd name="T24" fmla="*/ 19330296 w 1194"/>
                  <a:gd name="T25" fmla="*/ 61381854 h 1065"/>
                  <a:gd name="T26" fmla="*/ 62017775 w 1194"/>
                  <a:gd name="T27" fmla="*/ 18186828 h 1065"/>
                  <a:gd name="T28" fmla="*/ 84569928 w 1194"/>
                  <a:gd name="T29" fmla="*/ 46225285 h 1065"/>
                  <a:gd name="T30" fmla="*/ 172360823 w 1194"/>
                  <a:gd name="T31" fmla="*/ 100787503 h 1065"/>
                  <a:gd name="T32" fmla="*/ 201356705 w 1194"/>
                  <a:gd name="T33" fmla="*/ 27281109 h 1065"/>
                  <a:gd name="T34" fmla="*/ 250487948 w 1194"/>
                  <a:gd name="T35" fmla="*/ 0 h 1065"/>
                  <a:gd name="T36" fmla="*/ 338278815 w 1194"/>
                  <a:gd name="T37" fmla="*/ 39405663 h 1065"/>
                  <a:gd name="T38" fmla="*/ 386604985 w 1194"/>
                  <a:gd name="T39" fmla="*/ 79568675 h 1065"/>
                  <a:gd name="T40" fmla="*/ 426070579 w 1194"/>
                  <a:gd name="T41" fmla="*/ 137919392 h 1065"/>
                  <a:gd name="T42" fmla="*/ 464731156 w 1194"/>
                  <a:gd name="T43" fmla="*/ 192480725 h 1065"/>
                  <a:gd name="T44" fmla="*/ 510640591 w 1194"/>
                  <a:gd name="T45" fmla="*/ 232644648 h 1065"/>
                  <a:gd name="T46" fmla="*/ 608097051 w 1194"/>
                  <a:gd name="T47" fmla="*/ 265987153 h 1065"/>
                  <a:gd name="T48" fmla="*/ 760322512 w 1194"/>
                  <a:gd name="T49" fmla="*/ 247800332 h 1065"/>
                  <a:gd name="T50" fmla="*/ 806231836 w 1194"/>
                  <a:gd name="T51" fmla="*/ 262956016 h 1065"/>
                  <a:gd name="T52" fmla="*/ 854557108 w 1194"/>
                  <a:gd name="T53" fmla="*/ 302361666 h 1065"/>
                  <a:gd name="T54" fmla="*/ 906910160 w 1194"/>
                  <a:gd name="T55" fmla="*/ 327368980 h 1065"/>
                  <a:gd name="T56" fmla="*/ 932684177 w 1194"/>
                  <a:gd name="T57" fmla="*/ 409968764 h 1065"/>
                  <a:gd name="T58" fmla="*/ 961679385 w 1194"/>
                  <a:gd name="T59" fmla="*/ 467562213 h 1065"/>
                  <a:gd name="T60" fmla="*/ 935905144 w 1194"/>
                  <a:gd name="T61" fmla="*/ 479686761 h 1065"/>
                  <a:gd name="T62" fmla="*/ 926240448 w 1194"/>
                  <a:gd name="T63" fmla="*/ 535006314 h 1065"/>
                  <a:gd name="T64" fmla="*/ 945570961 w 1194"/>
                  <a:gd name="T65" fmla="*/ 587293859 h 1065"/>
                  <a:gd name="T66" fmla="*/ 948792825 w 1194"/>
                  <a:gd name="T67" fmla="*/ 660042884 h 1065"/>
                  <a:gd name="T68" fmla="*/ 864222701 w 1194"/>
                  <a:gd name="T69" fmla="*/ 644886329 h 1065"/>
                  <a:gd name="T70" fmla="*/ 828783988 w 1194"/>
                  <a:gd name="T71" fmla="*/ 614574961 h 1065"/>
                  <a:gd name="T72" fmla="*/ 769987208 w 1194"/>
                  <a:gd name="T73" fmla="*/ 578200449 h 1065"/>
                  <a:gd name="T74" fmla="*/ 633870171 w 1194"/>
                  <a:gd name="T75" fmla="*/ 614574961 h 1065"/>
                  <a:gd name="T76" fmla="*/ 562187728 w 1194"/>
                  <a:gd name="T77" fmla="*/ 635792919 h 1065"/>
                  <a:gd name="T78" fmla="*/ 461509292 w 1194"/>
                  <a:gd name="T79" fmla="*/ 623668372 h 1065"/>
                  <a:gd name="T80" fmla="*/ 426070579 w 1194"/>
                  <a:gd name="T81" fmla="*/ 553193135 h 1065"/>
                  <a:gd name="T82" fmla="*/ 386604985 w 1194"/>
                  <a:gd name="T83" fmla="*/ 495600664 h 1065"/>
                  <a:gd name="T84" fmla="*/ 357609103 w 1194"/>
                  <a:gd name="T85" fmla="*/ 431187592 h 1065"/>
                  <a:gd name="T86" fmla="*/ 364052832 w 1194"/>
                  <a:gd name="T87" fmla="*/ 366774629 h 1065"/>
                  <a:gd name="T88" fmla="*/ 285926661 w 1194"/>
                  <a:gd name="T89" fmla="*/ 397086868 h 1065"/>
                  <a:gd name="T90" fmla="*/ 279482932 w 1194"/>
                  <a:gd name="T91" fmla="*/ 458467933 h 1065"/>
                  <a:gd name="T92" fmla="*/ 302035085 w 1194"/>
                  <a:gd name="T93" fmla="*/ 513787485 h 1065"/>
                  <a:gd name="T94" fmla="*/ 295591356 w 1194"/>
                  <a:gd name="T95" fmla="*/ 568348819 h 1065"/>
                  <a:gd name="T96" fmla="*/ 309283831 w 1194"/>
                  <a:gd name="T97" fmla="*/ 623668372 h 1065"/>
                  <a:gd name="T98" fmla="*/ 325392255 w 1194"/>
                  <a:gd name="T99" fmla="*/ 694143609 h 1065"/>
                  <a:gd name="T100" fmla="*/ 386604985 w 1194"/>
                  <a:gd name="T101" fmla="*/ 694143609 h 1065"/>
                  <a:gd name="T102" fmla="*/ 422848715 w 1194"/>
                  <a:gd name="T103" fmla="*/ 718392703 h 1065"/>
                  <a:gd name="T104" fmla="*/ 406740291 w 1194"/>
                  <a:gd name="T105" fmla="*/ 800993358 h 106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194"/>
                  <a:gd name="T160" fmla="*/ 0 h 1065"/>
                  <a:gd name="T161" fmla="*/ 1194 w 1194"/>
                  <a:gd name="T162" fmla="*/ 1065 h 1065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194" h="1065">
                    <a:moveTo>
                      <a:pt x="420" y="1065"/>
                    </a:moveTo>
                    <a:lnTo>
                      <a:pt x="412" y="1065"/>
                    </a:lnTo>
                    <a:lnTo>
                      <a:pt x="388" y="1057"/>
                    </a:lnTo>
                    <a:lnTo>
                      <a:pt x="367" y="1049"/>
                    </a:lnTo>
                    <a:lnTo>
                      <a:pt x="355" y="1041"/>
                    </a:lnTo>
                    <a:lnTo>
                      <a:pt x="355" y="1017"/>
                    </a:lnTo>
                    <a:lnTo>
                      <a:pt x="351" y="997"/>
                    </a:lnTo>
                    <a:lnTo>
                      <a:pt x="347" y="988"/>
                    </a:lnTo>
                    <a:lnTo>
                      <a:pt x="335" y="980"/>
                    </a:lnTo>
                    <a:lnTo>
                      <a:pt x="315" y="980"/>
                    </a:lnTo>
                    <a:lnTo>
                      <a:pt x="295" y="980"/>
                    </a:lnTo>
                    <a:lnTo>
                      <a:pt x="287" y="960"/>
                    </a:lnTo>
                    <a:lnTo>
                      <a:pt x="287" y="944"/>
                    </a:lnTo>
                    <a:lnTo>
                      <a:pt x="283" y="932"/>
                    </a:lnTo>
                    <a:lnTo>
                      <a:pt x="275" y="924"/>
                    </a:lnTo>
                    <a:lnTo>
                      <a:pt x="258" y="924"/>
                    </a:lnTo>
                    <a:lnTo>
                      <a:pt x="246" y="920"/>
                    </a:lnTo>
                    <a:lnTo>
                      <a:pt x="226" y="912"/>
                    </a:lnTo>
                    <a:lnTo>
                      <a:pt x="218" y="908"/>
                    </a:lnTo>
                    <a:lnTo>
                      <a:pt x="214" y="900"/>
                    </a:lnTo>
                    <a:lnTo>
                      <a:pt x="210" y="888"/>
                    </a:lnTo>
                    <a:lnTo>
                      <a:pt x="210" y="871"/>
                    </a:lnTo>
                    <a:lnTo>
                      <a:pt x="206" y="851"/>
                    </a:lnTo>
                    <a:lnTo>
                      <a:pt x="202" y="851"/>
                    </a:lnTo>
                    <a:lnTo>
                      <a:pt x="198" y="839"/>
                    </a:lnTo>
                    <a:lnTo>
                      <a:pt x="198" y="827"/>
                    </a:lnTo>
                    <a:lnTo>
                      <a:pt x="190" y="823"/>
                    </a:lnTo>
                    <a:lnTo>
                      <a:pt x="186" y="823"/>
                    </a:lnTo>
                    <a:lnTo>
                      <a:pt x="186" y="811"/>
                    </a:lnTo>
                    <a:lnTo>
                      <a:pt x="182" y="803"/>
                    </a:lnTo>
                    <a:lnTo>
                      <a:pt x="174" y="799"/>
                    </a:lnTo>
                    <a:lnTo>
                      <a:pt x="170" y="791"/>
                    </a:lnTo>
                    <a:lnTo>
                      <a:pt x="162" y="775"/>
                    </a:lnTo>
                    <a:lnTo>
                      <a:pt x="158" y="775"/>
                    </a:lnTo>
                    <a:lnTo>
                      <a:pt x="158" y="742"/>
                    </a:lnTo>
                    <a:lnTo>
                      <a:pt x="154" y="710"/>
                    </a:lnTo>
                    <a:lnTo>
                      <a:pt x="150" y="698"/>
                    </a:lnTo>
                    <a:lnTo>
                      <a:pt x="145" y="682"/>
                    </a:lnTo>
                    <a:lnTo>
                      <a:pt x="133" y="674"/>
                    </a:lnTo>
                    <a:lnTo>
                      <a:pt x="125" y="662"/>
                    </a:lnTo>
                    <a:lnTo>
                      <a:pt x="125" y="658"/>
                    </a:lnTo>
                    <a:lnTo>
                      <a:pt x="121" y="654"/>
                    </a:lnTo>
                    <a:lnTo>
                      <a:pt x="105" y="633"/>
                    </a:lnTo>
                    <a:lnTo>
                      <a:pt x="93" y="621"/>
                    </a:lnTo>
                    <a:lnTo>
                      <a:pt x="93" y="569"/>
                    </a:lnTo>
                    <a:lnTo>
                      <a:pt x="89" y="524"/>
                    </a:lnTo>
                    <a:lnTo>
                      <a:pt x="81" y="512"/>
                    </a:lnTo>
                    <a:lnTo>
                      <a:pt x="77" y="500"/>
                    </a:lnTo>
                    <a:lnTo>
                      <a:pt x="73" y="484"/>
                    </a:lnTo>
                    <a:lnTo>
                      <a:pt x="65" y="472"/>
                    </a:lnTo>
                    <a:lnTo>
                      <a:pt x="57" y="464"/>
                    </a:lnTo>
                    <a:lnTo>
                      <a:pt x="45" y="456"/>
                    </a:lnTo>
                    <a:lnTo>
                      <a:pt x="41" y="448"/>
                    </a:lnTo>
                    <a:lnTo>
                      <a:pt x="41" y="440"/>
                    </a:lnTo>
                    <a:lnTo>
                      <a:pt x="41" y="391"/>
                    </a:lnTo>
                    <a:lnTo>
                      <a:pt x="41" y="339"/>
                    </a:lnTo>
                    <a:lnTo>
                      <a:pt x="37" y="327"/>
                    </a:lnTo>
                    <a:lnTo>
                      <a:pt x="29" y="323"/>
                    </a:lnTo>
                    <a:lnTo>
                      <a:pt x="24" y="315"/>
                    </a:lnTo>
                    <a:lnTo>
                      <a:pt x="16" y="307"/>
                    </a:lnTo>
                    <a:lnTo>
                      <a:pt x="16" y="286"/>
                    </a:lnTo>
                    <a:lnTo>
                      <a:pt x="16" y="254"/>
                    </a:lnTo>
                    <a:lnTo>
                      <a:pt x="8" y="210"/>
                    </a:lnTo>
                    <a:lnTo>
                      <a:pt x="0" y="182"/>
                    </a:lnTo>
                    <a:lnTo>
                      <a:pt x="0" y="173"/>
                    </a:lnTo>
                    <a:lnTo>
                      <a:pt x="0" y="169"/>
                    </a:lnTo>
                    <a:lnTo>
                      <a:pt x="4" y="157"/>
                    </a:lnTo>
                    <a:lnTo>
                      <a:pt x="8" y="145"/>
                    </a:lnTo>
                    <a:lnTo>
                      <a:pt x="16" y="145"/>
                    </a:lnTo>
                    <a:lnTo>
                      <a:pt x="24" y="145"/>
                    </a:lnTo>
                    <a:lnTo>
                      <a:pt x="37" y="141"/>
                    </a:lnTo>
                    <a:lnTo>
                      <a:pt x="45" y="133"/>
                    </a:lnTo>
                    <a:lnTo>
                      <a:pt x="45" y="121"/>
                    </a:lnTo>
                    <a:lnTo>
                      <a:pt x="45" y="105"/>
                    </a:lnTo>
                    <a:lnTo>
                      <a:pt x="37" y="101"/>
                    </a:lnTo>
                    <a:lnTo>
                      <a:pt x="29" y="97"/>
                    </a:lnTo>
                    <a:lnTo>
                      <a:pt x="29" y="93"/>
                    </a:lnTo>
                    <a:lnTo>
                      <a:pt x="24" y="81"/>
                    </a:lnTo>
                    <a:lnTo>
                      <a:pt x="45" y="65"/>
                    </a:lnTo>
                    <a:lnTo>
                      <a:pt x="57" y="48"/>
                    </a:lnTo>
                    <a:lnTo>
                      <a:pt x="65" y="32"/>
                    </a:lnTo>
                    <a:lnTo>
                      <a:pt x="69" y="24"/>
                    </a:lnTo>
                    <a:lnTo>
                      <a:pt x="73" y="24"/>
                    </a:lnTo>
                    <a:lnTo>
                      <a:pt x="77" y="24"/>
                    </a:lnTo>
                    <a:lnTo>
                      <a:pt x="81" y="28"/>
                    </a:lnTo>
                    <a:lnTo>
                      <a:pt x="93" y="36"/>
                    </a:lnTo>
                    <a:lnTo>
                      <a:pt x="93" y="48"/>
                    </a:lnTo>
                    <a:lnTo>
                      <a:pt x="97" y="56"/>
                    </a:lnTo>
                    <a:lnTo>
                      <a:pt x="101" y="56"/>
                    </a:lnTo>
                    <a:lnTo>
                      <a:pt x="105" y="61"/>
                    </a:lnTo>
                    <a:lnTo>
                      <a:pt x="105" y="93"/>
                    </a:lnTo>
                    <a:lnTo>
                      <a:pt x="105" y="105"/>
                    </a:lnTo>
                    <a:lnTo>
                      <a:pt x="145" y="121"/>
                    </a:lnTo>
                    <a:lnTo>
                      <a:pt x="182" y="141"/>
                    </a:lnTo>
                    <a:lnTo>
                      <a:pt x="202" y="141"/>
                    </a:lnTo>
                    <a:lnTo>
                      <a:pt x="214" y="133"/>
                    </a:lnTo>
                    <a:lnTo>
                      <a:pt x="222" y="129"/>
                    </a:lnTo>
                    <a:lnTo>
                      <a:pt x="234" y="121"/>
                    </a:lnTo>
                    <a:lnTo>
                      <a:pt x="234" y="85"/>
                    </a:lnTo>
                    <a:lnTo>
                      <a:pt x="234" y="56"/>
                    </a:lnTo>
                    <a:lnTo>
                      <a:pt x="238" y="48"/>
                    </a:lnTo>
                    <a:lnTo>
                      <a:pt x="250" y="36"/>
                    </a:lnTo>
                    <a:lnTo>
                      <a:pt x="258" y="36"/>
                    </a:lnTo>
                    <a:lnTo>
                      <a:pt x="271" y="32"/>
                    </a:lnTo>
                    <a:lnTo>
                      <a:pt x="287" y="16"/>
                    </a:lnTo>
                    <a:lnTo>
                      <a:pt x="299" y="4"/>
                    </a:lnTo>
                    <a:lnTo>
                      <a:pt x="303" y="0"/>
                    </a:lnTo>
                    <a:lnTo>
                      <a:pt x="311" y="0"/>
                    </a:lnTo>
                    <a:lnTo>
                      <a:pt x="339" y="0"/>
                    </a:lnTo>
                    <a:lnTo>
                      <a:pt x="367" y="4"/>
                    </a:lnTo>
                    <a:lnTo>
                      <a:pt x="396" y="20"/>
                    </a:lnTo>
                    <a:lnTo>
                      <a:pt x="404" y="28"/>
                    </a:lnTo>
                    <a:lnTo>
                      <a:pt x="412" y="36"/>
                    </a:lnTo>
                    <a:lnTo>
                      <a:pt x="420" y="52"/>
                    </a:lnTo>
                    <a:lnTo>
                      <a:pt x="428" y="56"/>
                    </a:lnTo>
                    <a:lnTo>
                      <a:pt x="432" y="61"/>
                    </a:lnTo>
                    <a:lnTo>
                      <a:pt x="436" y="69"/>
                    </a:lnTo>
                    <a:lnTo>
                      <a:pt x="444" y="81"/>
                    </a:lnTo>
                    <a:lnTo>
                      <a:pt x="464" y="97"/>
                    </a:lnTo>
                    <a:lnTo>
                      <a:pt x="480" y="105"/>
                    </a:lnTo>
                    <a:lnTo>
                      <a:pt x="480" y="117"/>
                    </a:lnTo>
                    <a:lnTo>
                      <a:pt x="492" y="133"/>
                    </a:lnTo>
                    <a:lnTo>
                      <a:pt x="496" y="141"/>
                    </a:lnTo>
                    <a:lnTo>
                      <a:pt x="509" y="153"/>
                    </a:lnTo>
                    <a:lnTo>
                      <a:pt x="521" y="178"/>
                    </a:lnTo>
                    <a:lnTo>
                      <a:pt x="529" y="182"/>
                    </a:lnTo>
                    <a:lnTo>
                      <a:pt x="529" y="194"/>
                    </a:lnTo>
                    <a:lnTo>
                      <a:pt x="533" y="206"/>
                    </a:lnTo>
                    <a:lnTo>
                      <a:pt x="557" y="226"/>
                    </a:lnTo>
                    <a:lnTo>
                      <a:pt x="561" y="246"/>
                    </a:lnTo>
                    <a:lnTo>
                      <a:pt x="569" y="250"/>
                    </a:lnTo>
                    <a:lnTo>
                      <a:pt x="577" y="254"/>
                    </a:lnTo>
                    <a:lnTo>
                      <a:pt x="581" y="258"/>
                    </a:lnTo>
                    <a:lnTo>
                      <a:pt x="593" y="266"/>
                    </a:lnTo>
                    <a:lnTo>
                      <a:pt x="597" y="270"/>
                    </a:lnTo>
                    <a:lnTo>
                      <a:pt x="605" y="270"/>
                    </a:lnTo>
                    <a:lnTo>
                      <a:pt x="622" y="290"/>
                    </a:lnTo>
                    <a:lnTo>
                      <a:pt x="634" y="307"/>
                    </a:lnTo>
                    <a:lnTo>
                      <a:pt x="650" y="315"/>
                    </a:lnTo>
                    <a:lnTo>
                      <a:pt x="666" y="323"/>
                    </a:lnTo>
                    <a:lnTo>
                      <a:pt x="674" y="327"/>
                    </a:lnTo>
                    <a:lnTo>
                      <a:pt x="690" y="327"/>
                    </a:lnTo>
                    <a:lnTo>
                      <a:pt x="710" y="335"/>
                    </a:lnTo>
                    <a:lnTo>
                      <a:pt x="755" y="351"/>
                    </a:lnTo>
                    <a:lnTo>
                      <a:pt x="787" y="359"/>
                    </a:lnTo>
                    <a:lnTo>
                      <a:pt x="860" y="359"/>
                    </a:lnTo>
                    <a:lnTo>
                      <a:pt x="872" y="351"/>
                    </a:lnTo>
                    <a:lnTo>
                      <a:pt x="884" y="343"/>
                    </a:lnTo>
                    <a:lnTo>
                      <a:pt x="916" y="335"/>
                    </a:lnTo>
                    <a:lnTo>
                      <a:pt x="944" y="327"/>
                    </a:lnTo>
                    <a:lnTo>
                      <a:pt x="964" y="327"/>
                    </a:lnTo>
                    <a:lnTo>
                      <a:pt x="981" y="327"/>
                    </a:lnTo>
                    <a:lnTo>
                      <a:pt x="985" y="335"/>
                    </a:lnTo>
                    <a:lnTo>
                      <a:pt x="993" y="343"/>
                    </a:lnTo>
                    <a:lnTo>
                      <a:pt x="997" y="343"/>
                    </a:lnTo>
                    <a:lnTo>
                      <a:pt x="1001" y="347"/>
                    </a:lnTo>
                    <a:lnTo>
                      <a:pt x="1017" y="363"/>
                    </a:lnTo>
                    <a:lnTo>
                      <a:pt x="1029" y="375"/>
                    </a:lnTo>
                    <a:lnTo>
                      <a:pt x="1033" y="375"/>
                    </a:lnTo>
                    <a:lnTo>
                      <a:pt x="1045" y="379"/>
                    </a:lnTo>
                    <a:lnTo>
                      <a:pt x="1061" y="387"/>
                    </a:lnTo>
                    <a:lnTo>
                      <a:pt x="1061" y="399"/>
                    </a:lnTo>
                    <a:lnTo>
                      <a:pt x="1073" y="399"/>
                    </a:lnTo>
                    <a:lnTo>
                      <a:pt x="1077" y="399"/>
                    </a:lnTo>
                    <a:lnTo>
                      <a:pt x="1094" y="416"/>
                    </a:lnTo>
                    <a:lnTo>
                      <a:pt x="1106" y="428"/>
                    </a:lnTo>
                    <a:lnTo>
                      <a:pt x="1114" y="428"/>
                    </a:lnTo>
                    <a:lnTo>
                      <a:pt x="1126" y="432"/>
                    </a:lnTo>
                    <a:lnTo>
                      <a:pt x="1130" y="440"/>
                    </a:lnTo>
                    <a:lnTo>
                      <a:pt x="1134" y="452"/>
                    </a:lnTo>
                    <a:lnTo>
                      <a:pt x="1142" y="480"/>
                    </a:lnTo>
                    <a:lnTo>
                      <a:pt x="1150" y="512"/>
                    </a:lnTo>
                    <a:lnTo>
                      <a:pt x="1154" y="516"/>
                    </a:lnTo>
                    <a:lnTo>
                      <a:pt x="1158" y="541"/>
                    </a:lnTo>
                    <a:lnTo>
                      <a:pt x="1158" y="557"/>
                    </a:lnTo>
                    <a:lnTo>
                      <a:pt x="1158" y="581"/>
                    </a:lnTo>
                    <a:lnTo>
                      <a:pt x="1170" y="585"/>
                    </a:lnTo>
                    <a:lnTo>
                      <a:pt x="1190" y="593"/>
                    </a:lnTo>
                    <a:lnTo>
                      <a:pt x="1194" y="597"/>
                    </a:lnTo>
                    <a:lnTo>
                      <a:pt x="1194" y="617"/>
                    </a:lnTo>
                    <a:lnTo>
                      <a:pt x="1194" y="625"/>
                    </a:lnTo>
                    <a:lnTo>
                      <a:pt x="1186" y="633"/>
                    </a:lnTo>
                    <a:lnTo>
                      <a:pt x="1178" y="641"/>
                    </a:lnTo>
                    <a:lnTo>
                      <a:pt x="1178" y="633"/>
                    </a:lnTo>
                    <a:lnTo>
                      <a:pt x="1170" y="633"/>
                    </a:lnTo>
                    <a:lnTo>
                      <a:pt x="1162" y="633"/>
                    </a:lnTo>
                    <a:lnTo>
                      <a:pt x="1158" y="646"/>
                    </a:lnTo>
                    <a:lnTo>
                      <a:pt x="1150" y="654"/>
                    </a:lnTo>
                    <a:lnTo>
                      <a:pt x="1150" y="658"/>
                    </a:lnTo>
                    <a:lnTo>
                      <a:pt x="1142" y="662"/>
                    </a:lnTo>
                    <a:lnTo>
                      <a:pt x="1150" y="682"/>
                    </a:lnTo>
                    <a:lnTo>
                      <a:pt x="1150" y="706"/>
                    </a:lnTo>
                    <a:lnTo>
                      <a:pt x="1154" y="710"/>
                    </a:lnTo>
                    <a:lnTo>
                      <a:pt x="1158" y="714"/>
                    </a:lnTo>
                    <a:lnTo>
                      <a:pt x="1158" y="726"/>
                    </a:lnTo>
                    <a:lnTo>
                      <a:pt x="1162" y="742"/>
                    </a:lnTo>
                    <a:lnTo>
                      <a:pt x="1166" y="758"/>
                    </a:lnTo>
                    <a:lnTo>
                      <a:pt x="1174" y="775"/>
                    </a:lnTo>
                    <a:lnTo>
                      <a:pt x="1178" y="803"/>
                    </a:lnTo>
                    <a:lnTo>
                      <a:pt x="1190" y="831"/>
                    </a:lnTo>
                    <a:lnTo>
                      <a:pt x="1190" y="851"/>
                    </a:lnTo>
                    <a:lnTo>
                      <a:pt x="1190" y="867"/>
                    </a:lnTo>
                    <a:lnTo>
                      <a:pt x="1186" y="871"/>
                    </a:lnTo>
                    <a:lnTo>
                      <a:pt x="1178" y="871"/>
                    </a:lnTo>
                    <a:lnTo>
                      <a:pt x="1142" y="871"/>
                    </a:lnTo>
                    <a:lnTo>
                      <a:pt x="1106" y="871"/>
                    </a:lnTo>
                    <a:lnTo>
                      <a:pt x="1098" y="867"/>
                    </a:lnTo>
                    <a:lnTo>
                      <a:pt x="1081" y="859"/>
                    </a:lnTo>
                    <a:lnTo>
                      <a:pt x="1077" y="851"/>
                    </a:lnTo>
                    <a:lnTo>
                      <a:pt x="1073" y="851"/>
                    </a:lnTo>
                    <a:lnTo>
                      <a:pt x="1065" y="851"/>
                    </a:lnTo>
                    <a:lnTo>
                      <a:pt x="1061" y="847"/>
                    </a:lnTo>
                    <a:lnTo>
                      <a:pt x="1061" y="835"/>
                    </a:lnTo>
                    <a:lnTo>
                      <a:pt x="1049" y="823"/>
                    </a:lnTo>
                    <a:lnTo>
                      <a:pt x="1041" y="811"/>
                    </a:lnTo>
                    <a:lnTo>
                      <a:pt x="1029" y="811"/>
                    </a:lnTo>
                    <a:lnTo>
                      <a:pt x="1013" y="787"/>
                    </a:lnTo>
                    <a:lnTo>
                      <a:pt x="997" y="775"/>
                    </a:lnTo>
                    <a:lnTo>
                      <a:pt x="981" y="767"/>
                    </a:lnTo>
                    <a:lnTo>
                      <a:pt x="960" y="767"/>
                    </a:lnTo>
                    <a:lnTo>
                      <a:pt x="960" y="763"/>
                    </a:lnTo>
                    <a:lnTo>
                      <a:pt x="956" y="763"/>
                    </a:lnTo>
                    <a:lnTo>
                      <a:pt x="908" y="763"/>
                    </a:lnTo>
                    <a:lnTo>
                      <a:pt x="851" y="767"/>
                    </a:lnTo>
                    <a:lnTo>
                      <a:pt x="843" y="775"/>
                    </a:lnTo>
                    <a:lnTo>
                      <a:pt x="827" y="775"/>
                    </a:lnTo>
                    <a:lnTo>
                      <a:pt x="807" y="791"/>
                    </a:lnTo>
                    <a:lnTo>
                      <a:pt x="787" y="811"/>
                    </a:lnTo>
                    <a:lnTo>
                      <a:pt x="771" y="811"/>
                    </a:lnTo>
                    <a:lnTo>
                      <a:pt x="755" y="823"/>
                    </a:lnTo>
                    <a:lnTo>
                      <a:pt x="751" y="827"/>
                    </a:lnTo>
                    <a:lnTo>
                      <a:pt x="751" y="831"/>
                    </a:lnTo>
                    <a:lnTo>
                      <a:pt x="710" y="835"/>
                    </a:lnTo>
                    <a:lnTo>
                      <a:pt x="698" y="839"/>
                    </a:lnTo>
                    <a:lnTo>
                      <a:pt x="654" y="839"/>
                    </a:lnTo>
                    <a:lnTo>
                      <a:pt x="605" y="835"/>
                    </a:lnTo>
                    <a:lnTo>
                      <a:pt x="597" y="835"/>
                    </a:lnTo>
                    <a:lnTo>
                      <a:pt x="581" y="831"/>
                    </a:lnTo>
                    <a:lnTo>
                      <a:pt x="577" y="827"/>
                    </a:lnTo>
                    <a:lnTo>
                      <a:pt x="573" y="823"/>
                    </a:lnTo>
                    <a:lnTo>
                      <a:pt x="569" y="799"/>
                    </a:lnTo>
                    <a:lnTo>
                      <a:pt x="557" y="767"/>
                    </a:lnTo>
                    <a:lnTo>
                      <a:pt x="549" y="758"/>
                    </a:lnTo>
                    <a:lnTo>
                      <a:pt x="533" y="746"/>
                    </a:lnTo>
                    <a:lnTo>
                      <a:pt x="529" y="742"/>
                    </a:lnTo>
                    <a:lnTo>
                      <a:pt x="529" y="730"/>
                    </a:lnTo>
                    <a:lnTo>
                      <a:pt x="521" y="722"/>
                    </a:lnTo>
                    <a:lnTo>
                      <a:pt x="513" y="714"/>
                    </a:lnTo>
                    <a:lnTo>
                      <a:pt x="509" y="702"/>
                    </a:lnTo>
                    <a:lnTo>
                      <a:pt x="509" y="690"/>
                    </a:lnTo>
                    <a:lnTo>
                      <a:pt x="492" y="670"/>
                    </a:lnTo>
                    <a:lnTo>
                      <a:pt x="480" y="654"/>
                    </a:lnTo>
                    <a:lnTo>
                      <a:pt x="480" y="641"/>
                    </a:lnTo>
                    <a:lnTo>
                      <a:pt x="480" y="621"/>
                    </a:lnTo>
                    <a:lnTo>
                      <a:pt x="468" y="605"/>
                    </a:lnTo>
                    <a:lnTo>
                      <a:pt x="456" y="589"/>
                    </a:lnTo>
                    <a:lnTo>
                      <a:pt x="452" y="577"/>
                    </a:lnTo>
                    <a:lnTo>
                      <a:pt x="444" y="569"/>
                    </a:lnTo>
                    <a:lnTo>
                      <a:pt x="444" y="561"/>
                    </a:lnTo>
                    <a:lnTo>
                      <a:pt x="444" y="549"/>
                    </a:lnTo>
                    <a:lnTo>
                      <a:pt x="452" y="549"/>
                    </a:lnTo>
                    <a:lnTo>
                      <a:pt x="452" y="545"/>
                    </a:lnTo>
                    <a:lnTo>
                      <a:pt x="452" y="516"/>
                    </a:lnTo>
                    <a:lnTo>
                      <a:pt x="452" y="484"/>
                    </a:lnTo>
                    <a:lnTo>
                      <a:pt x="444" y="480"/>
                    </a:lnTo>
                    <a:lnTo>
                      <a:pt x="420" y="480"/>
                    </a:lnTo>
                    <a:lnTo>
                      <a:pt x="404" y="480"/>
                    </a:lnTo>
                    <a:lnTo>
                      <a:pt x="384" y="500"/>
                    </a:lnTo>
                    <a:lnTo>
                      <a:pt x="367" y="520"/>
                    </a:lnTo>
                    <a:lnTo>
                      <a:pt x="355" y="524"/>
                    </a:lnTo>
                    <a:lnTo>
                      <a:pt x="347" y="533"/>
                    </a:lnTo>
                    <a:lnTo>
                      <a:pt x="347" y="541"/>
                    </a:lnTo>
                    <a:lnTo>
                      <a:pt x="339" y="545"/>
                    </a:lnTo>
                    <a:lnTo>
                      <a:pt x="335" y="569"/>
                    </a:lnTo>
                    <a:lnTo>
                      <a:pt x="335" y="597"/>
                    </a:lnTo>
                    <a:lnTo>
                      <a:pt x="347" y="605"/>
                    </a:lnTo>
                    <a:lnTo>
                      <a:pt x="351" y="621"/>
                    </a:lnTo>
                    <a:lnTo>
                      <a:pt x="355" y="633"/>
                    </a:lnTo>
                    <a:lnTo>
                      <a:pt x="363" y="646"/>
                    </a:lnTo>
                    <a:lnTo>
                      <a:pt x="367" y="654"/>
                    </a:lnTo>
                    <a:lnTo>
                      <a:pt x="379" y="662"/>
                    </a:lnTo>
                    <a:lnTo>
                      <a:pt x="375" y="678"/>
                    </a:lnTo>
                    <a:lnTo>
                      <a:pt x="375" y="690"/>
                    </a:lnTo>
                    <a:lnTo>
                      <a:pt x="367" y="694"/>
                    </a:lnTo>
                    <a:lnTo>
                      <a:pt x="363" y="706"/>
                    </a:lnTo>
                    <a:lnTo>
                      <a:pt x="363" y="722"/>
                    </a:lnTo>
                    <a:lnTo>
                      <a:pt x="363" y="742"/>
                    </a:lnTo>
                    <a:lnTo>
                      <a:pt x="367" y="750"/>
                    </a:lnTo>
                    <a:lnTo>
                      <a:pt x="375" y="763"/>
                    </a:lnTo>
                    <a:lnTo>
                      <a:pt x="379" y="767"/>
                    </a:lnTo>
                    <a:lnTo>
                      <a:pt x="384" y="775"/>
                    </a:lnTo>
                    <a:lnTo>
                      <a:pt x="384" y="795"/>
                    </a:lnTo>
                    <a:lnTo>
                      <a:pt x="384" y="811"/>
                    </a:lnTo>
                    <a:lnTo>
                      <a:pt x="384" y="823"/>
                    </a:lnTo>
                    <a:lnTo>
                      <a:pt x="379" y="831"/>
                    </a:lnTo>
                    <a:lnTo>
                      <a:pt x="379" y="863"/>
                    </a:lnTo>
                    <a:lnTo>
                      <a:pt x="379" y="896"/>
                    </a:lnTo>
                    <a:lnTo>
                      <a:pt x="384" y="904"/>
                    </a:lnTo>
                    <a:lnTo>
                      <a:pt x="396" y="912"/>
                    </a:lnTo>
                    <a:lnTo>
                      <a:pt x="404" y="916"/>
                    </a:lnTo>
                    <a:lnTo>
                      <a:pt x="412" y="920"/>
                    </a:lnTo>
                    <a:lnTo>
                      <a:pt x="444" y="920"/>
                    </a:lnTo>
                    <a:lnTo>
                      <a:pt x="472" y="920"/>
                    </a:lnTo>
                    <a:lnTo>
                      <a:pt x="472" y="916"/>
                    </a:lnTo>
                    <a:lnTo>
                      <a:pt x="480" y="916"/>
                    </a:lnTo>
                    <a:lnTo>
                      <a:pt x="488" y="916"/>
                    </a:lnTo>
                    <a:lnTo>
                      <a:pt x="496" y="916"/>
                    </a:lnTo>
                    <a:lnTo>
                      <a:pt x="509" y="924"/>
                    </a:lnTo>
                    <a:lnTo>
                      <a:pt x="517" y="932"/>
                    </a:lnTo>
                    <a:lnTo>
                      <a:pt x="525" y="944"/>
                    </a:lnTo>
                    <a:lnTo>
                      <a:pt x="525" y="948"/>
                    </a:lnTo>
                    <a:lnTo>
                      <a:pt x="521" y="956"/>
                    </a:lnTo>
                    <a:lnTo>
                      <a:pt x="521" y="972"/>
                    </a:lnTo>
                    <a:lnTo>
                      <a:pt x="517" y="997"/>
                    </a:lnTo>
                    <a:lnTo>
                      <a:pt x="509" y="1021"/>
                    </a:lnTo>
                    <a:lnTo>
                      <a:pt x="509" y="1049"/>
                    </a:lnTo>
                    <a:lnTo>
                      <a:pt x="505" y="1057"/>
                    </a:lnTo>
                    <a:lnTo>
                      <a:pt x="496" y="1057"/>
                    </a:lnTo>
                    <a:lnTo>
                      <a:pt x="444" y="1065"/>
                    </a:lnTo>
                    <a:lnTo>
                      <a:pt x="420" y="106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37" name="Freeform 45"/>
              <p:cNvSpPr>
                <a:spLocks/>
              </p:cNvSpPr>
              <p:nvPr/>
            </p:nvSpPr>
            <p:spPr bwMode="auto">
              <a:xfrm>
                <a:off x="1770147" y="2926710"/>
                <a:ext cx="706438" cy="929056"/>
              </a:xfrm>
              <a:custGeom>
                <a:avLst/>
                <a:gdLst>
                  <a:gd name="T0" fmla="*/ 315853201 w 787"/>
                  <a:gd name="T1" fmla="*/ 755437290 h 1045"/>
                  <a:gd name="T2" fmla="*/ 289263494 w 787"/>
                  <a:gd name="T3" fmla="*/ 737252392 h 1045"/>
                  <a:gd name="T4" fmla="*/ 257033055 w 787"/>
                  <a:gd name="T5" fmla="*/ 712248267 h 1045"/>
                  <a:gd name="T6" fmla="*/ 207883062 w 787"/>
                  <a:gd name="T7" fmla="*/ 681939525 h 1045"/>
                  <a:gd name="T8" fmla="*/ 182098532 w 787"/>
                  <a:gd name="T9" fmla="*/ 638750502 h 1045"/>
                  <a:gd name="T10" fmla="*/ 165984210 w 787"/>
                  <a:gd name="T11" fmla="*/ 599349747 h 1045"/>
                  <a:gd name="T12" fmla="*/ 123279283 w 787"/>
                  <a:gd name="T13" fmla="*/ 590256863 h 1045"/>
                  <a:gd name="T14" fmla="*/ 136977175 w 787"/>
                  <a:gd name="T15" fmla="*/ 553128892 h 1045"/>
                  <a:gd name="T16" fmla="*/ 97495623 w 787"/>
                  <a:gd name="T17" fmla="*/ 534943995 h 1045"/>
                  <a:gd name="T18" fmla="*/ 71711093 w 787"/>
                  <a:gd name="T19" fmla="*/ 507666214 h 1045"/>
                  <a:gd name="T20" fmla="*/ 55596757 w 787"/>
                  <a:gd name="T21" fmla="*/ 486450355 h 1045"/>
                  <a:gd name="T22" fmla="*/ 81380404 w 787"/>
                  <a:gd name="T23" fmla="*/ 471296419 h 1045"/>
                  <a:gd name="T24" fmla="*/ 74934496 w 787"/>
                  <a:gd name="T25" fmla="*/ 431137379 h 1045"/>
                  <a:gd name="T26" fmla="*/ 33035630 w 787"/>
                  <a:gd name="T27" fmla="*/ 415983443 h 1045"/>
                  <a:gd name="T28" fmla="*/ 0 w 787"/>
                  <a:gd name="T29" fmla="*/ 406890559 h 1045"/>
                  <a:gd name="T30" fmla="*/ 12891820 w 787"/>
                  <a:gd name="T31" fmla="*/ 363701537 h 1045"/>
                  <a:gd name="T32" fmla="*/ 45927446 w 787"/>
                  <a:gd name="T33" fmla="*/ 351577692 h 1045"/>
                  <a:gd name="T34" fmla="*/ 49150849 w 787"/>
                  <a:gd name="T35" fmla="*/ 321269820 h 1045"/>
                  <a:gd name="T36" fmla="*/ 42704941 w 787"/>
                  <a:gd name="T37" fmla="*/ 262925991 h 1045"/>
                  <a:gd name="T38" fmla="*/ 33035630 w 787"/>
                  <a:gd name="T39" fmla="*/ 226555271 h 1045"/>
                  <a:gd name="T40" fmla="*/ 71711093 w 787"/>
                  <a:gd name="T41" fmla="*/ 202308451 h 1045"/>
                  <a:gd name="T42" fmla="*/ 116833347 w 787"/>
                  <a:gd name="T43" fmla="*/ 162150390 h 1045"/>
                  <a:gd name="T44" fmla="*/ 143423083 w 787"/>
                  <a:gd name="T45" fmla="*/ 146995584 h 1045"/>
                  <a:gd name="T46" fmla="*/ 153091496 w 787"/>
                  <a:gd name="T47" fmla="*/ 122748764 h 1045"/>
                  <a:gd name="T48" fmla="*/ 182098532 w 787"/>
                  <a:gd name="T49" fmla="*/ 113656723 h 1045"/>
                  <a:gd name="T50" fmla="*/ 224803459 w 787"/>
                  <a:gd name="T51" fmla="*/ 103806534 h 1045"/>
                  <a:gd name="T52" fmla="*/ 282817586 w 787"/>
                  <a:gd name="T53" fmla="*/ 97744612 h 1045"/>
                  <a:gd name="T54" fmla="*/ 315853201 w 787"/>
                  <a:gd name="T55" fmla="*/ 67435869 h 1045"/>
                  <a:gd name="T56" fmla="*/ 322299110 w 787"/>
                  <a:gd name="T57" fmla="*/ 3030962 h 1045"/>
                  <a:gd name="T58" fmla="*/ 419793807 w 787"/>
                  <a:gd name="T59" fmla="*/ 0 h 1045"/>
                  <a:gd name="T60" fmla="*/ 565634274 w 787"/>
                  <a:gd name="T61" fmla="*/ 21215865 h 1045"/>
                  <a:gd name="T62" fmla="*/ 581749493 w 787"/>
                  <a:gd name="T63" fmla="*/ 88652598 h 1045"/>
                  <a:gd name="T64" fmla="*/ 552742457 w 787"/>
                  <a:gd name="T65" fmla="*/ 150026545 h 1045"/>
                  <a:gd name="T66" fmla="*/ 543073146 w 787"/>
                  <a:gd name="T67" fmla="*/ 202308451 h 1045"/>
                  <a:gd name="T68" fmla="*/ 530181330 w 787"/>
                  <a:gd name="T69" fmla="*/ 229586287 h 1045"/>
                  <a:gd name="T70" fmla="*/ 539850641 w 787"/>
                  <a:gd name="T71" fmla="*/ 306115013 h 1045"/>
                  <a:gd name="T72" fmla="*/ 555965860 w 787"/>
                  <a:gd name="T73" fmla="*/ 315207897 h 1045"/>
                  <a:gd name="T74" fmla="*/ 568857677 w 787"/>
                  <a:gd name="T75" fmla="*/ 379612778 h 1045"/>
                  <a:gd name="T76" fmla="*/ 584971998 w 787"/>
                  <a:gd name="T77" fmla="*/ 412952482 h 1045"/>
                  <a:gd name="T78" fmla="*/ 605115798 w 787"/>
                  <a:gd name="T79" fmla="*/ 446291315 h 1045"/>
                  <a:gd name="T80" fmla="*/ 621231017 w 787"/>
                  <a:gd name="T81" fmla="*/ 477358342 h 1045"/>
                  <a:gd name="T82" fmla="*/ 634122833 w 787"/>
                  <a:gd name="T83" fmla="*/ 507666214 h 1045"/>
                  <a:gd name="T84" fmla="*/ 601893292 w 787"/>
                  <a:gd name="T85" fmla="*/ 510697175 h 1045"/>
                  <a:gd name="T86" fmla="*/ 530181330 w 787"/>
                  <a:gd name="T87" fmla="*/ 483419394 h 1045"/>
                  <a:gd name="T88" fmla="*/ 477807990 w 787"/>
                  <a:gd name="T89" fmla="*/ 513728137 h 1045"/>
                  <a:gd name="T90" fmla="*/ 464916061 w 787"/>
                  <a:gd name="T91" fmla="*/ 525851111 h 1045"/>
                  <a:gd name="T92" fmla="*/ 429463118 w 787"/>
                  <a:gd name="T93" fmla="*/ 544036879 h 1045"/>
                  <a:gd name="T94" fmla="*/ 442354934 w 787"/>
                  <a:gd name="T95" fmla="*/ 581163979 h 1045"/>
                  <a:gd name="T96" fmla="*/ 435909026 w 787"/>
                  <a:gd name="T97" fmla="*/ 605410799 h 1045"/>
                  <a:gd name="T98" fmla="*/ 406096813 w 787"/>
                  <a:gd name="T99" fmla="*/ 632688580 h 1045"/>
                  <a:gd name="T100" fmla="*/ 432686521 w 787"/>
                  <a:gd name="T101" fmla="*/ 657692705 h 1045"/>
                  <a:gd name="T102" fmla="*/ 448800842 w 787"/>
                  <a:gd name="T103" fmla="*/ 681939525 h 1045"/>
                  <a:gd name="T104" fmla="*/ 439132429 w 787"/>
                  <a:gd name="T105" fmla="*/ 721340281 h 1045"/>
                  <a:gd name="T106" fmla="*/ 389981594 w 787"/>
                  <a:gd name="T107" fmla="*/ 737252392 h 1045"/>
                  <a:gd name="T108" fmla="*/ 348082742 w 787"/>
                  <a:gd name="T109" fmla="*/ 764530173 h 1045"/>
                  <a:gd name="T110" fmla="*/ 325521615 w 787"/>
                  <a:gd name="T111" fmla="*/ 791807955 h 104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87"/>
                  <a:gd name="T169" fmla="*/ 0 h 1045"/>
                  <a:gd name="T170" fmla="*/ 787 w 787"/>
                  <a:gd name="T171" fmla="*/ 1045 h 104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87" h="1045">
                    <a:moveTo>
                      <a:pt x="396" y="1045"/>
                    </a:moveTo>
                    <a:lnTo>
                      <a:pt x="396" y="1021"/>
                    </a:lnTo>
                    <a:lnTo>
                      <a:pt x="396" y="1001"/>
                    </a:lnTo>
                    <a:lnTo>
                      <a:pt x="392" y="997"/>
                    </a:lnTo>
                    <a:lnTo>
                      <a:pt x="387" y="989"/>
                    </a:lnTo>
                    <a:lnTo>
                      <a:pt x="375" y="981"/>
                    </a:lnTo>
                    <a:lnTo>
                      <a:pt x="363" y="977"/>
                    </a:lnTo>
                    <a:lnTo>
                      <a:pt x="359" y="973"/>
                    </a:lnTo>
                    <a:lnTo>
                      <a:pt x="343" y="973"/>
                    </a:lnTo>
                    <a:lnTo>
                      <a:pt x="335" y="964"/>
                    </a:lnTo>
                    <a:lnTo>
                      <a:pt x="327" y="952"/>
                    </a:lnTo>
                    <a:lnTo>
                      <a:pt x="319" y="940"/>
                    </a:lnTo>
                    <a:lnTo>
                      <a:pt x="311" y="928"/>
                    </a:lnTo>
                    <a:lnTo>
                      <a:pt x="283" y="912"/>
                    </a:lnTo>
                    <a:lnTo>
                      <a:pt x="262" y="904"/>
                    </a:lnTo>
                    <a:lnTo>
                      <a:pt x="258" y="900"/>
                    </a:lnTo>
                    <a:lnTo>
                      <a:pt x="254" y="896"/>
                    </a:lnTo>
                    <a:lnTo>
                      <a:pt x="242" y="892"/>
                    </a:lnTo>
                    <a:lnTo>
                      <a:pt x="226" y="888"/>
                    </a:lnTo>
                    <a:lnTo>
                      <a:pt x="226" y="843"/>
                    </a:lnTo>
                    <a:lnTo>
                      <a:pt x="226" y="799"/>
                    </a:lnTo>
                    <a:lnTo>
                      <a:pt x="222" y="795"/>
                    </a:lnTo>
                    <a:lnTo>
                      <a:pt x="218" y="791"/>
                    </a:lnTo>
                    <a:lnTo>
                      <a:pt x="206" y="791"/>
                    </a:lnTo>
                    <a:lnTo>
                      <a:pt x="194" y="783"/>
                    </a:lnTo>
                    <a:lnTo>
                      <a:pt x="170" y="783"/>
                    </a:lnTo>
                    <a:lnTo>
                      <a:pt x="145" y="783"/>
                    </a:lnTo>
                    <a:lnTo>
                      <a:pt x="153" y="779"/>
                    </a:lnTo>
                    <a:lnTo>
                      <a:pt x="153" y="763"/>
                    </a:lnTo>
                    <a:lnTo>
                      <a:pt x="158" y="755"/>
                    </a:lnTo>
                    <a:lnTo>
                      <a:pt x="170" y="747"/>
                    </a:lnTo>
                    <a:lnTo>
                      <a:pt x="170" y="730"/>
                    </a:lnTo>
                    <a:lnTo>
                      <a:pt x="170" y="718"/>
                    </a:lnTo>
                    <a:lnTo>
                      <a:pt x="166" y="714"/>
                    </a:lnTo>
                    <a:lnTo>
                      <a:pt x="145" y="710"/>
                    </a:lnTo>
                    <a:lnTo>
                      <a:pt x="121" y="706"/>
                    </a:lnTo>
                    <a:lnTo>
                      <a:pt x="113" y="698"/>
                    </a:lnTo>
                    <a:lnTo>
                      <a:pt x="101" y="694"/>
                    </a:lnTo>
                    <a:lnTo>
                      <a:pt x="93" y="682"/>
                    </a:lnTo>
                    <a:lnTo>
                      <a:pt x="89" y="670"/>
                    </a:lnTo>
                    <a:lnTo>
                      <a:pt x="81" y="670"/>
                    </a:lnTo>
                    <a:lnTo>
                      <a:pt x="77" y="658"/>
                    </a:lnTo>
                    <a:lnTo>
                      <a:pt x="69" y="650"/>
                    </a:lnTo>
                    <a:lnTo>
                      <a:pt x="69" y="642"/>
                    </a:lnTo>
                    <a:lnTo>
                      <a:pt x="69" y="630"/>
                    </a:lnTo>
                    <a:lnTo>
                      <a:pt x="81" y="622"/>
                    </a:lnTo>
                    <a:lnTo>
                      <a:pt x="93" y="622"/>
                    </a:lnTo>
                    <a:lnTo>
                      <a:pt x="101" y="622"/>
                    </a:lnTo>
                    <a:lnTo>
                      <a:pt x="101" y="613"/>
                    </a:lnTo>
                    <a:lnTo>
                      <a:pt x="101" y="601"/>
                    </a:lnTo>
                    <a:lnTo>
                      <a:pt x="101" y="589"/>
                    </a:lnTo>
                    <a:lnTo>
                      <a:pt x="93" y="569"/>
                    </a:lnTo>
                    <a:lnTo>
                      <a:pt x="89" y="553"/>
                    </a:lnTo>
                    <a:lnTo>
                      <a:pt x="65" y="553"/>
                    </a:lnTo>
                    <a:lnTo>
                      <a:pt x="41" y="553"/>
                    </a:lnTo>
                    <a:lnTo>
                      <a:pt x="41" y="549"/>
                    </a:lnTo>
                    <a:lnTo>
                      <a:pt x="37" y="549"/>
                    </a:lnTo>
                    <a:lnTo>
                      <a:pt x="16" y="549"/>
                    </a:lnTo>
                    <a:lnTo>
                      <a:pt x="0" y="549"/>
                    </a:lnTo>
                    <a:lnTo>
                      <a:pt x="0" y="537"/>
                    </a:lnTo>
                    <a:lnTo>
                      <a:pt x="0" y="521"/>
                    </a:lnTo>
                    <a:lnTo>
                      <a:pt x="4" y="517"/>
                    </a:lnTo>
                    <a:lnTo>
                      <a:pt x="12" y="488"/>
                    </a:lnTo>
                    <a:lnTo>
                      <a:pt x="16" y="480"/>
                    </a:lnTo>
                    <a:lnTo>
                      <a:pt x="24" y="468"/>
                    </a:lnTo>
                    <a:lnTo>
                      <a:pt x="41" y="468"/>
                    </a:lnTo>
                    <a:lnTo>
                      <a:pt x="53" y="468"/>
                    </a:lnTo>
                    <a:lnTo>
                      <a:pt x="57" y="464"/>
                    </a:lnTo>
                    <a:lnTo>
                      <a:pt x="61" y="460"/>
                    </a:lnTo>
                    <a:lnTo>
                      <a:pt x="65" y="448"/>
                    </a:lnTo>
                    <a:lnTo>
                      <a:pt x="69" y="428"/>
                    </a:lnTo>
                    <a:lnTo>
                      <a:pt x="61" y="424"/>
                    </a:lnTo>
                    <a:lnTo>
                      <a:pt x="45" y="412"/>
                    </a:lnTo>
                    <a:lnTo>
                      <a:pt x="45" y="388"/>
                    </a:lnTo>
                    <a:lnTo>
                      <a:pt x="45" y="367"/>
                    </a:lnTo>
                    <a:lnTo>
                      <a:pt x="53" y="347"/>
                    </a:lnTo>
                    <a:lnTo>
                      <a:pt x="53" y="335"/>
                    </a:lnTo>
                    <a:lnTo>
                      <a:pt x="45" y="319"/>
                    </a:lnTo>
                    <a:lnTo>
                      <a:pt x="41" y="307"/>
                    </a:lnTo>
                    <a:lnTo>
                      <a:pt x="41" y="299"/>
                    </a:lnTo>
                    <a:lnTo>
                      <a:pt x="41" y="287"/>
                    </a:lnTo>
                    <a:lnTo>
                      <a:pt x="45" y="283"/>
                    </a:lnTo>
                    <a:lnTo>
                      <a:pt x="53" y="271"/>
                    </a:lnTo>
                    <a:lnTo>
                      <a:pt x="89" y="267"/>
                    </a:lnTo>
                    <a:lnTo>
                      <a:pt x="93" y="267"/>
                    </a:lnTo>
                    <a:lnTo>
                      <a:pt x="117" y="250"/>
                    </a:lnTo>
                    <a:lnTo>
                      <a:pt x="141" y="230"/>
                    </a:lnTo>
                    <a:lnTo>
                      <a:pt x="145" y="214"/>
                    </a:lnTo>
                    <a:lnTo>
                      <a:pt x="153" y="198"/>
                    </a:lnTo>
                    <a:lnTo>
                      <a:pt x="158" y="194"/>
                    </a:lnTo>
                    <a:lnTo>
                      <a:pt x="170" y="194"/>
                    </a:lnTo>
                    <a:lnTo>
                      <a:pt x="178" y="194"/>
                    </a:lnTo>
                    <a:lnTo>
                      <a:pt x="178" y="186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90" y="162"/>
                    </a:lnTo>
                    <a:lnTo>
                      <a:pt x="202" y="162"/>
                    </a:lnTo>
                    <a:lnTo>
                      <a:pt x="210" y="158"/>
                    </a:lnTo>
                    <a:lnTo>
                      <a:pt x="222" y="154"/>
                    </a:lnTo>
                    <a:lnTo>
                      <a:pt x="226" y="150"/>
                    </a:lnTo>
                    <a:lnTo>
                      <a:pt x="230" y="137"/>
                    </a:lnTo>
                    <a:lnTo>
                      <a:pt x="234" y="129"/>
                    </a:lnTo>
                    <a:lnTo>
                      <a:pt x="250" y="137"/>
                    </a:lnTo>
                    <a:lnTo>
                      <a:pt x="279" y="137"/>
                    </a:lnTo>
                    <a:lnTo>
                      <a:pt x="311" y="137"/>
                    </a:lnTo>
                    <a:lnTo>
                      <a:pt x="339" y="137"/>
                    </a:lnTo>
                    <a:lnTo>
                      <a:pt x="343" y="137"/>
                    </a:lnTo>
                    <a:lnTo>
                      <a:pt x="351" y="129"/>
                    </a:lnTo>
                    <a:lnTo>
                      <a:pt x="359" y="121"/>
                    </a:lnTo>
                    <a:lnTo>
                      <a:pt x="363" y="109"/>
                    </a:lnTo>
                    <a:lnTo>
                      <a:pt x="383" y="101"/>
                    </a:lnTo>
                    <a:lnTo>
                      <a:pt x="392" y="89"/>
                    </a:lnTo>
                    <a:lnTo>
                      <a:pt x="392" y="49"/>
                    </a:lnTo>
                    <a:lnTo>
                      <a:pt x="392" y="8"/>
                    </a:lnTo>
                    <a:lnTo>
                      <a:pt x="396" y="4"/>
                    </a:lnTo>
                    <a:lnTo>
                      <a:pt x="400" y="4"/>
                    </a:lnTo>
                    <a:lnTo>
                      <a:pt x="432" y="4"/>
                    </a:lnTo>
                    <a:lnTo>
                      <a:pt x="468" y="8"/>
                    </a:lnTo>
                    <a:lnTo>
                      <a:pt x="492" y="4"/>
                    </a:lnTo>
                    <a:lnTo>
                      <a:pt x="521" y="0"/>
                    </a:lnTo>
                    <a:lnTo>
                      <a:pt x="581" y="0"/>
                    </a:lnTo>
                    <a:lnTo>
                      <a:pt x="642" y="4"/>
                    </a:lnTo>
                    <a:lnTo>
                      <a:pt x="674" y="12"/>
                    </a:lnTo>
                    <a:lnTo>
                      <a:pt x="702" y="28"/>
                    </a:lnTo>
                    <a:lnTo>
                      <a:pt x="710" y="41"/>
                    </a:lnTo>
                    <a:lnTo>
                      <a:pt x="726" y="53"/>
                    </a:lnTo>
                    <a:lnTo>
                      <a:pt x="726" y="85"/>
                    </a:lnTo>
                    <a:lnTo>
                      <a:pt x="722" y="117"/>
                    </a:lnTo>
                    <a:lnTo>
                      <a:pt x="710" y="150"/>
                    </a:lnTo>
                    <a:lnTo>
                      <a:pt x="702" y="174"/>
                    </a:lnTo>
                    <a:lnTo>
                      <a:pt x="694" y="190"/>
                    </a:lnTo>
                    <a:lnTo>
                      <a:pt x="686" y="198"/>
                    </a:lnTo>
                    <a:lnTo>
                      <a:pt x="686" y="222"/>
                    </a:lnTo>
                    <a:lnTo>
                      <a:pt x="686" y="254"/>
                    </a:lnTo>
                    <a:lnTo>
                      <a:pt x="682" y="258"/>
                    </a:lnTo>
                    <a:lnTo>
                      <a:pt x="674" y="267"/>
                    </a:lnTo>
                    <a:lnTo>
                      <a:pt x="674" y="271"/>
                    </a:lnTo>
                    <a:lnTo>
                      <a:pt x="670" y="279"/>
                    </a:lnTo>
                    <a:lnTo>
                      <a:pt x="662" y="291"/>
                    </a:lnTo>
                    <a:lnTo>
                      <a:pt x="658" y="303"/>
                    </a:lnTo>
                    <a:lnTo>
                      <a:pt x="658" y="327"/>
                    </a:lnTo>
                    <a:lnTo>
                      <a:pt x="658" y="343"/>
                    </a:lnTo>
                    <a:lnTo>
                      <a:pt x="662" y="375"/>
                    </a:lnTo>
                    <a:lnTo>
                      <a:pt x="670" y="404"/>
                    </a:lnTo>
                    <a:lnTo>
                      <a:pt x="674" y="412"/>
                    </a:lnTo>
                    <a:lnTo>
                      <a:pt x="686" y="412"/>
                    </a:lnTo>
                    <a:lnTo>
                      <a:pt x="690" y="416"/>
                    </a:lnTo>
                    <a:lnTo>
                      <a:pt x="694" y="432"/>
                    </a:lnTo>
                    <a:lnTo>
                      <a:pt x="702" y="452"/>
                    </a:lnTo>
                    <a:lnTo>
                      <a:pt x="702" y="472"/>
                    </a:lnTo>
                    <a:lnTo>
                      <a:pt x="706" y="501"/>
                    </a:lnTo>
                    <a:lnTo>
                      <a:pt x="710" y="505"/>
                    </a:lnTo>
                    <a:lnTo>
                      <a:pt x="718" y="513"/>
                    </a:lnTo>
                    <a:lnTo>
                      <a:pt x="722" y="533"/>
                    </a:lnTo>
                    <a:lnTo>
                      <a:pt x="726" y="545"/>
                    </a:lnTo>
                    <a:lnTo>
                      <a:pt x="738" y="553"/>
                    </a:lnTo>
                    <a:lnTo>
                      <a:pt x="747" y="565"/>
                    </a:lnTo>
                    <a:lnTo>
                      <a:pt x="747" y="573"/>
                    </a:lnTo>
                    <a:lnTo>
                      <a:pt x="751" y="589"/>
                    </a:lnTo>
                    <a:lnTo>
                      <a:pt x="759" y="597"/>
                    </a:lnTo>
                    <a:lnTo>
                      <a:pt x="767" y="609"/>
                    </a:lnTo>
                    <a:lnTo>
                      <a:pt x="771" y="622"/>
                    </a:lnTo>
                    <a:lnTo>
                      <a:pt x="771" y="630"/>
                    </a:lnTo>
                    <a:lnTo>
                      <a:pt x="771" y="634"/>
                    </a:lnTo>
                    <a:lnTo>
                      <a:pt x="783" y="642"/>
                    </a:lnTo>
                    <a:lnTo>
                      <a:pt x="787" y="658"/>
                    </a:lnTo>
                    <a:lnTo>
                      <a:pt x="787" y="670"/>
                    </a:lnTo>
                    <a:lnTo>
                      <a:pt x="787" y="674"/>
                    </a:lnTo>
                    <a:lnTo>
                      <a:pt x="779" y="674"/>
                    </a:lnTo>
                    <a:lnTo>
                      <a:pt x="767" y="674"/>
                    </a:lnTo>
                    <a:lnTo>
                      <a:pt x="747" y="674"/>
                    </a:lnTo>
                    <a:lnTo>
                      <a:pt x="698" y="650"/>
                    </a:lnTo>
                    <a:lnTo>
                      <a:pt x="686" y="642"/>
                    </a:lnTo>
                    <a:lnTo>
                      <a:pt x="666" y="638"/>
                    </a:lnTo>
                    <a:lnTo>
                      <a:pt x="658" y="638"/>
                    </a:lnTo>
                    <a:lnTo>
                      <a:pt x="634" y="638"/>
                    </a:lnTo>
                    <a:lnTo>
                      <a:pt x="601" y="638"/>
                    </a:lnTo>
                    <a:lnTo>
                      <a:pt x="597" y="642"/>
                    </a:lnTo>
                    <a:lnTo>
                      <a:pt x="593" y="678"/>
                    </a:lnTo>
                    <a:lnTo>
                      <a:pt x="589" y="694"/>
                    </a:lnTo>
                    <a:lnTo>
                      <a:pt x="581" y="694"/>
                    </a:lnTo>
                    <a:lnTo>
                      <a:pt x="577" y="694"/>
                    </a:lnTo>
                    <a:lnTo>
                      <a:pt x="573" y="694"/>
                    </a:lnTo>
                    <a:lnTo>
                      <a:pt x="553" y="698"/>
                    </a:lnTo>
                    <a:lnTo>
                      <a:pt x="537" y="710"/>
                    </a:lnTo>
                    <a:lnTo>
                      <a:pt x="533" y="718"/>
                    </a:lnTo>
                    <a:lnTo>
                      <a:pt x="525" y="722"/>
                    </a:lnTo>
                    <a:lnTo>
                      <a:pt x="525" y="743"/>
                    </a:lnTo>
                    <a:lnTo>
                      <a:pt x="537" y="759"/>
                    </a:lnTo>
                    <a:lnTo>
                      <a:pt x="549" y="767"/>
                    </a:lnTo>
                    <a:lnTo>
                      <a:pt x="565" y="771"/>
                    </a:lnTo>
                    <a:lnTo>
                      <a:pt x="565" y="783"/>
                    </a:lnTo>
                    <a:lnTo>
                      <a:pt x="565" y="799"/>
                    </a:lnTo>
                    <a:lnTo>
                      <a:pt x="541" y="799"/>
                    </a:lnTo>
                    <a:lnTo>
                      <a:pt x="517" y="803"/>
                    </a:lnTo>
                    <a:lnTo>
                      <a:pt x="517" y="807"/>
                    </a:lnTo>
                    <a:lnTo>
                      <a:pt x="513" y="811"/>
                    </a:lnTo>
                    <a:lnTo>
                      <a:pt x="504" y="835"/>
                    </a:lnTo>
                    <a:lnTo>
                      <a:pt x="504" y="852"/>
                    </a:lnTo>
                    <a:lnTo>
                      <a:pt x="513" y="856"/>
                    </a:lnTo>
                    <a:lnTo>
                      <a:pt x="517" y="864"/>
                    </a:lnTo>
                    <a:lnTo>
                      <a:pt x="537" y="868"/>
                    </a:lnTo>
                    <a:lnTo>
                      <a:pt x="553" y="868"/>
                    </a:lnTo>
                    <a:lnTo>
                      <a:pt x="557" y="872"/>
                    </a:lnTo>
                    <a:lnTo>
                      <a:pt x="557" y="880"/>
                    </a:lnTo>
                    <a:lnTo>
                      <a:pt x="557" y="900"/>
                    </a:lnTo>
                    <a:lnTo>
                      <a:pt x="557" y="924"/>
                    </a:lnTo>
                    <a:lnTo>
                      <a:pt x="557" y="936"/>
                    </a:lnTo>
                    <a:lnTo>
                      <a:pt x="553" y="944"/>
                    </a:lnTo>
                    <a:lnTo>
                      <a:pt x="545" y="952"/>
                    </a:lnTo>
                    <a:lnTo>
                      <a:pt x="537" y="964"/>
                    </a:lnTo>
                    <a:lnTo>
                      <a:pt x="521" y="964"/>
                    </a:lnTo>
                    <a:lnTo>
                      <a:pt x="504" y="973"/>
                    </a:lnTo>
                    <a:lnTo>
                      <a:pt x="484" y="973"/>
                    </a:lnTo>
                    <a:lnTo>
                      <a:pt x="460" y="973"/>
                    </a:lnTo>
                    <a:lnTo>
                      <a:pt x="448" y="989"/>
                    </a:lnTo>
                    <a:lnTo>
                      <a:pt x="436" y="997"/>
                    </a:lnTo>
                    <a:lnTo>
                      <a:pt x="432" y="1009"/>
                    </a:lnTo>
                    <a:lnTo>
                      <a:pt x="428" y="1021"/>
                    </a:lnTo>
                    <a:lnTo>
                      <a:pt x="416" y="1033"/>
                    </a:lnTo>
                    <a:lnTo>
                      <a:pt x="408" y="1037"/>
                    </a:lnTo>
                    <a:lnTo>
                      <a:pt x="404" y="1045"/>
                    </a:lnTo>
                    <a:lnTo>
                      <a:pt x="396" y="1045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800" b="1">
                  <a:cs typeface="+mn-cs"/>
                </a:endParaRPr>
              </a:p>
            </p:txBody>
          </p:sp>
          <p:sp>
            <p:nvSpPr>
              <p:cNvPr id="38" name="Freeform 46"/>
              <p:cNvSpPr>
                <a:spLocks/>
              </p:cNvSpPr>
              <p:nvPr/>
            </p:nvSpPr>
            <p:spPr bwMode="auto">
              <a:xfrm>
                <a:off x="3425912" y="2894284"/>
                <a:ext cx="1301751" cy="878794"/>
              </a:xfrm>
              <a:custGeom>
                <a:avLst/>
                <a:gdLst>
                  <a:gd name="T0" fmla="*/ 2147483647 w 1448"/>
                  <a:gd name="T1" fmla="*/ 2147483647 h 988"/>
                  <a:gd name="T2" fmla="*/ 2147483647 w 1448"/>
                  <a:gd name="T3" fmla="*/ 2147483647 h 988"/>
                  <a:gd name="T4" fmla="*/ 2147483647 w 1448"/>
                  <a:gd name="T5" fmla="*/ 2147483647 h 988"/>
                  <a:gd name="T6" fmla="*/ 2147483647 w 1448"/>
                  <a:gd name="T7" fmla="*/ 2147483647 h 988"/>
                  <a:gd name="T8" fmla="*/ 2147483647 w 1448"/>
                  <a:gd name="T9" fmla="*/ 2147483647 h 988"/>
                  <a:gd name="T10" fmla="*/ 2147483647 w 1448"/>
                  <a:gd name="T11" fmla="*/ 2147483647 h 988"/>
                  <a:gd name="T12" fmla="*/ 2147483647 w 1448"/>
                  <a:gd name="T13" fmla="*/ 2147483647 h 988"/>
                  <a:gd name="T14" fmla="*/ 2147483647 w 1448"/>
                  <a:gd name="T15" fmla="*/ 2147483647 h 988"/>
                  <a:gd name="T16" fmla="*/ 2147483647 w 1448"/>
                  <a:gd name="T17" fmla="*/ 2147483647 h 988"/>
                  <a:gd name="T18" fmla="*/ 2147483647 w 1448"/>
                  <a:gd name="T19" fmla="*/ 2147483647 h 988"/>
                  <a:gd name="T20" fmla="*/ 2147483647 w 1448"/>
                  <a:gd name="T21" fmla="*/ 2147483647 h 988"/>
                  <a:gd name="T22" fmla="*/ 2147483647 w 1448"/>
                  <a:gd name="T23" fmla="*/ 2147483647 h 988"/>
                  <a:gd name="T24" fmla="*/ 2147483647 w 1448"/>
                  <a:gd name="T25" fmla="*/ 2147483647 h 988"/>
                  <a:gd name="T26" fmla="*/ 2147483647 w 1448"/>
                  <a:gd name="T27" fmla="*/ 2147483647 h 988"/>
                  <a:gd name="T28" fmla="*/ 2147483647 w 1448"/>
                  <a:gd name="T29" fmla="*/ 2147483647 h 988"/>
                  <a:gd name="T30" fmla="*/ 2147483647 w 1448"/>
                  <a:gd name="T31" fmla="*/ 2147483647 h 988"/>
                  <a:gd name="T32" fmla="*/ 2147483647 w 1448"/>
                  <a:gd name="T33" fmla="*/ 2147483647 h 988"/>
                  <a:gd name="T34" fmla="*/ 2147483647 w 1448"/>
                  <a:gd name="T35" fmla="*/ 2147483647 h 988"/>
                  <a:gd name="T36" fmla="*/ 2147483647 w 1448"/>
                  <a:gd name="T37" fmla="*/ 2147483647 h 988"/>
                  <a:gd name="T38" fmla="*/ 2147483647 w 1448"/>
                  <a:gd name="T39" fmla="*/ 2147483647 h 988"/>
                  <a:gd name="T40" fmla="*/ 2147483647 w 1448"/>
                  <a:gd name="T41" fmla="*/ 2147483647 h 988"/>
                  <a:gd name="T42" fmla="*/ 2147483647 w 1448"/>
                  <a:gd name="T43" fmla="*/ 2147483647 h 988"/>
                  <a:gd name="T44" fmla="*/ 2147483647 w 1448"/>
                  <a:gd name="T45" fmla="*/ 2147483647 h 988"/>
                  <a:gd name="T46" fmla="*/ 2147483647 w 1448"/>
                  <a:gd name="T47" fmla="*/ 2147483647 h 988"/>
                  <a:gd name="T48" fmla="*/ 2147483647 w 1448"/>
                  <a:gd name="T49" fmla="*/ 2147483647 h 988"/>
                  <a:gd name="T50" fmla="*/ 2147483647 w 1448"/>
                  <a:gd name="T51" fmla="*/ 2147483647 h 988"/>
                  <a:gd name="T52" fmla="*/ 2147483647 w 1448"/>
                  <a:gd name="T53" fmla="*/ 2147483647 h 988"/>
                  <a:gd name="T54" fmla="*/ 2147483647 w 1448"/>
                  <a:gd name="T55" fmla="*/ 2147483647 h 988"/>
                  <a:gd name="T56" fmla="*/ 2147483647 w 1448"/>
                  <a:gd name="T57" fmla="*/ 2147483647 h 988"/>
                  <a:gd name="T58" fmla="*/ 2147483647 w 1448"/>
                  <a:gd name="T59" fmla="*/ 2147483647 h 988"/>
                  <a:gd name="T60" fmla="*/ 2147483647 w 1448"/>
                  <a:gd name="T61" fmla="*/ 2147483647 h 988"/>
                  <a:gd name="T62" fmla="*/ 2147483647 w 1448"/>
                  <a:gd name="T63" fmla="*/ 2147483647 h 988"/>
                  <a:gd name="T64" fmla="*/ 2147483647 w 1448"/>
                  <a:gd name="T65" fmla="*/ 2147483647 h 988"/>
                  <a:gd name="T66" fmla="*/ 2147483647 w 1448"/>
                  <a:gd name="T67" fmla="*/ 2147483647 h 988"/>
                  <a:gd name="T68" fmla="*/ 2147483647 w 1448"/>
                  <a:gd name="T69" fmla="*/ 2147483647 h 988"/>
                  <a:gd name="T70" fmla="*/ 2147483647 w 1448"/>
                  <a:gd name="T71" fmla="*/ 2147483647 h 988"/>
                  <a:gd name="T72" fmla="*/ 2147483647 w 1448"/>
                  <a:gd name="T73" fmla="*/ 2147483647 h 988"/>
                  <a:gd name="T74" fmla="*/ 2147483647 w 1448"/>
                  <a:gd name="T75" fmla="*/ 2147483647 h 988"/>
                  <a:gd name="T76" fmla="*/ 2147483647 w 1448"/>
                  <a:gd name="T77" fmla="*/ 2147483647 h 988"/>
                  <a:gd name="T78" fmla="*/ 2147483647 w 1448"/>
                  <a:gd name="T79" fmla="*/ 2147483647 h 988"/>
                  <a:gd name="T80" fmla="*/ 2147483647 w 1448"/>
                  <a:gd name="T81" fmla="*/ 2147483647 h 988"/>
                  <a:gd name="T82" fmla="*/ 2147483647 w 1448"/>
                  <a:gd name="T83" fmla="*/ 2147483647 h 988"/>
                  <a:gd name="T84" fmla="*/ 2147483647 w 1448"/>
                  <a:gd name="T85" fmla="*/ 2147483647 h 988"/>
                  <a:gd name="T86" fmla="*/ 2147483647 w 1448"/>
                  <a:gd name="T87" fmla="*/ 2147483647 h 988"/>
                  <a:gd name="T88" fmla="*/ 2147483647 w 1448"/>
                  <a:gd name="T89" fmla="*/ 2147483647 h 988"/>
                  <a:gd name="T90" fmla="*/ 2147483647 w 1448"/>
                  <a:gd name="T91" fmla="*/ 2147483647 h 988"/>
                  <a:gd name="T92" fmla="*/ 2147483647 w 1448"/>
                  <a:gd name="T93" fmla="*/ 2147483647 h 988"/>
                  <a:gd name="T94" fmla="*/ 2147483647 w 1448"/>
                  <a:gd name="T95" fmla="*/ 2147483647 h 988"/>
                  <a:gd name="T96" fmla="*/ 2147483647 w 1448"/>
                  <a:gd name="T97" fmla="*/ 2147483647 h 988"/>
                  <a:gd name="T98" fmla="*/ 2147483647 w 1448"/>
                  <a:gd name="T99" fmla="*/ 2147483647 h 988"/>
                  <a:gd name="T100" fmla="*/ 2147483647 w 1448"/>
                  <a:gd name="T101" fmla="*/ 2147483647 h 988"/>
                  <a:gd name="T102" fmla="*/ 2147483647 w 1448"/>
                  <a:gd name="T103" fmla="*/ 2147483647 h 988"/>
                  <a:gd name="T104" fmla="*/ 2147483647 w 1448"/>
                  <a:gd name="T105" fmla="*/ 2147483647 h 988"/>
                  <a:gd name="T106" fmla="*/ 2147483647 w 1448"/>
                  <a:gd name="T107" fmla="*/ 2147483647 h 988"/>
                  <a:gd name="T108" fmla="*/ 2147483647 w 1448"/>
                  <a:gd name="T109" fmla="*/ 2147483647 h 98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448"/>
                  <a:gd name="T166" fmla="*/ 0 h 988"/>
                  <a:gd name="T167" fmla="*/ 1448 w 1448"/>
                  <a:gd name="T168" fmla="*/ 988 h 98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448" h="988">
                    <a:moveTo>
                      <a:pt x="206" y="988"/>
                    </a:moveTo>
                    <a:lnTo>
                      <a:pt x="206" y="976"/>
                    </a:lnTo>
                    <a:lnTo>
                      <a:pt x="202" y="904"/>
                    </a:lnTo>
                    <a:lnTo>
                      <a:pt x="197" y="904"/>
                    </a:lnTo>
                    <a:lnTo>
                      <a:pt x="185" y="892"/>
                    </a:lnTo>
                    <a:lnTo>
                      <a:pt x="185" y="888"/>
                    </a:lnTo>
                    <a:lnTo>
                      <a:pt x="185" y="879"/>
                    </a:lnTo>
                    <a:lnTo>
                      <a:pt x="181" y="875"/>
                    </a:lnTo>
                    <a:lnTo>
                      <a:pt x="177" y="871"/>
                    </a:lnTo>
                    <a:lnTo>
                      <a:pt x="177" y="851"/>
                    </a:lnTo>
                    <a:lnTo>
                      <a:pt x="169" y="839"/>
                    </a:lnTo>
                    <a:lnTo>
                      <a:pt x="165" y="835"/>
                    </a:lnTo>
                    <a:lnTo>
                      <a:pt x="161" y="819"/>
                    </a:lnTo>
                    <a:lnTo>
                      <a:pt x="161" y="779"/>
                    </a:lnTo>
                    <a:lnTo>
                      <a:pt x="177" y="779"/>
                    </a:lnTo>
                    <a:lnTo>
                      <a:pt x="193" y="779"/>
                    </a:lnTo>
                    <a:lnTo>
                      <a:pt x="197" y="775"/>
                    </a:lnTo>
                    <a:lnTo>
                      <a:pt x="202" y="771"/>
                    </a:lnTo>
                    <a:lnTo>
                      <a:pt x="202" y="758"/>
                    </a:lnTo>
                    <a:lnTo>
                      <a:pt x="206" y="746"/>
                    </a:lnTo>
                    <a:lnTo>
                      <a:pt x="206" y="742"/>
                    </a:lnTo>
                    <a:lnTo>
                      <a:pt x="210" y="742"/>
                    </a:lnTo>
                    <a:lnTo>
                      <a:pt x="210" y="730"/>
                    </a:lnTo>
                    <a:lnTo>
                      <a:pt x="206" y="710"/>
                    </a:lnTo>
                    <a:lnTo>
                      <a:pt x="197" y="710"/>
                    </a:lnTo>
                    <a:lnTo>
                      <a:pt x="185" y="710"/>
                    </a:lnTo>
                    <a:lnTo>
                      <a:pt x="185" y="706"/>
                    </a:lnTo>
                    <a:lnTo>
                      <a:pt x="185" y="698"/>
                    </a:lnTo>
                    <a:lnTo>
                      <a:pt x="177" y="698"/>
                    </a:lnTo>
                    <a:lnTo>
                      <a:pt x="161" y="698"/>
                    </a:lnTo>
                    <a:lnTo>
                      <a:pt x="161" y="682"/>
                    </a:lnTo>
                    <a:lnTo>
                      <a:pt x="161" y="662"/>
                    </a:lnTo>
                    <a:lnTo>
                      <a:pt x="165" y="658"/>
                    </a:lnTo>
                    <a:lnTo>
                      <a:pt x="165" y="645"/>
                    </a:lnTo>
                    <a:lnTo>
                      <a:pt x="165" y="637"/>
                    </a:lnTo>
                    <a:lnTo>
                      <a:pt x="161" y="629"/>
                    </a:lnTo>
                    <a:lnTo>
                      <a:pt x="153" y="621"/>
                    </a:lnTo>
                    <a:lnTo>
                      <a:pt x="153" y="609"/>
                    </a:lnTo>
                    <a:lnTo>
                      <a:pt x="153" y="605"/>
                    </a:lnTo>
                    <a:lnTo>
                      <a:pt x="149" y="597"/>
                    </a:lnTo>
                    <a:lnTo>
                      <a:pt x="145" y="593"/>
                    </a:lnTo>
                    <a:lnTo>
                      <a:pt x="141" y="577"/>
                    </a:lnTo>
                    <a:lnTo>
                      <a:pt x="141" y="565"/>
                    </a:lnTo>
                    <a:lnTo>
                      <a:pt x="129" y="553"/>
                    </a:lnTo>
                    <a:lnTo>
                      <a:pt x="125" y="545"/>
                    </a:lnTo>
                    <a:lnTo>
                      <a:pt x="105" y="532"/>
                    </a:lnTo>
                    <a:lnTo>
                      <a:pt x="85" y="512"/>
                    </a:lnTo>
                    <a:lnTo>
                      <a:pt x="72" y="508"/>
                    </a:lnTo>
                    <a:lnTo>
                      <a:pt x="64" y="504"/>
                    </a:lnTo>
                    <a:lnTo>
                      <a:pt x="56" y="500"/>
                    </a:lnTo>
                    <a:lnTo>
                      <a:pt x="52" y="492"/>
                    </a:lnTo>
                    <a:lnTo>
                      <a:pt x="36" y="488"/>
                    </a:lnTo>
                    <a:lnTo>
                      <a:pt x="20" y="476"/>
                    </a:lnTo>
                    <a:lnTo>
                      <a:pt x="12" y="464"/>
                    </a:lnTo>
                    <a:lnTo>
                      <a:pt x="0" y="448"/>
                    </a:lnTo>
                    <a:lnTo>
                      <a:pt x="0" y="432"/>
                    </a:lnTo>
                    <a:lnTo>
                      <a:pt x="0" y="415"/>
                    </a:lnTo>
                    <a:lnTo>
                      <a:pt x="4" y="411"/>
                    </a:lnTo>
                    <a:lnTo>
                      <a:pt x="4" y="403"/>
                    </a:lnTo>
                    <a:lnTo>
                      <a:pt x="12" y="403"/>
                    </a:lnTo>
                    <a:lnTo>
                      <a:pt x="20" y="403"/>
                    </a:lnTo>
                    <a:lnTo>
                      <a:pt x="32" y="411"/>
                    </a:lnTo>
                    <a:lnTo>
                      <a:pt x="40" y="415"/>
                    </a:lnTo>
                    <a:lnTo>
                      <a:pt x="44" y="420"/>
                    </a:lnTo>
                    <a:lnTo>
                      <a:pt x="52" y="428"/>
                    </a:lnTo>
                    <a:lnTo>
                      <a:pt x="56" y="448"/>
                    </a:lnTo>
                    <a:lnTo>
                      <a:pt x="56" y="460"/>
                    </a:lnTo>
                    <a:lnTo>
                      <a:pt x="68" y="460"/>
                    </a:lnTo>
                    <a:lnTo>
                      <a:pt x="85" y="460"/>
                    </a:lnTo>
                    <a:lnTo>
                      <a:pt x="93" y="452"/>
                    </a:lnTo>
                    <a:lnTo>
                      <a:pt x="105" y="448"/>
                    </a:lnTo>
                    <a:lnTo>
                      <a:pt x="125" y="420"/>
                    </a:lnTo>
                    <a:lnTo>
                      <a:pt x="145" y="391"/>
                    </a:lnTo>
                    <a:lnTo>
                      <a:pt x="149" y="387"/>
                    </a:lnTo>
                    <a:lnTo>
                      <a:pt x="157" y="387"/>
                    </a:lnTo>
                    <a:lnTo>
                      <a:pt x="161" y="379"/>
                    </a:lnTo>
                    <a:lnTo>
                      <a:pt x="161" y="375"/>
                    </a:lnTo>
                    <a:lnTo>
                      <a:pt x="169" y="367"/>
                    </a:lnTo>
                    <a:lnTo>
                      <a:pt x="185" y="355"/>
                    </a:lnTo>
                    <a:lnTo>
                      <a:pt x="185" y="351"/>
                    </a:lnTo>
                    <a:lnTo>
                      <a:pt x="185" y="347"/>
                    </a:lnTo>
                    <a:lnTo>
                      <a:pt x="197" y="339"/>
                    </a:lnTo>
                    <a:lnTo>
                      <a:pt x="206" y="331"/>
                    </a:lnTo>
                    <a:lnTo>
                      <a:pt x="218" y="331"/>
                    </a:lnTo>
                    <a:lnTo>
                      <a:pt x="234" y="331"/>
                    </a:lnTo>
                    <a:lnTo>
                      <a:pt x="266" y="347"/>
                    </a:lnTo>
                    <a:lnTo>
                      <a:pt x="298" y="363"/>
                    </a:lnTo>
                    <a:lnTo>
                      <a:pt x="302" y="371"/>
                    </a:lnTo>
                    <a:lnTo>
                      <a:pt x="310" y="379"/>
                    </a:lnTo>
                    <a:lnTo>
                      <a:pt x="314" y="379"/>
                    </a:lnTo>
                    <a:lnTo>
                      <a:pt x="323" y="383"/>
                    </a:lnTo>
                    <a:lnTo>
                      <a:pt x="343" y="391"/>
                    </a:lnTo>
                    <a:lnTo>
                      <a:pt x="363" y="399"/>
                    </a:lnTo>
                    <a:lnTo>
                      <a:pt x="399" y="391"/>
                    </a:lnTo>
                    <a:lnTo>
                      <a:pt x="415" y="387"/>
                    </a:lnTo>
                    <a:lnTo>
                      <a:pt x="431" y="383"/>
                    </a:lnTo>
                    <a:lnTo>
                      <a:pt x="464" y="371"/>
                    </a:lnTo>
                    <a:lnTo>
                      <a:pt x="468" y="367"/>
                    </a:lnTo>
                    <a:lnTo>
                      <a:pt x="472" y="363"/>
                    </a:lnTo>
                    <a:lnTo>
                      <a:pt x="480" y="351"/>
                    </a:lnTo>
                    <a:lnTo>
                      <a:pt x="484" y="347"/>
                    </a:lnTo>
                    <a:lnTo>
                      <a:pt x="484" y="339"/>
                    </a:lnTo>
                    <a:lnTo>
                      <a:pt x="484" y="327"/>
                    </a:lnTo>
                    <a:lnTo>
                      <a:pt x="480" y="323"/>
                    </a:lnTo>
                    <a:lnTo>
                      <a:pt x="472" y="319"/>
                    </a:lnTo>
                    <a:lnTo>
                      <a:pt x="472" y="298"/>
                    </a:lnTo>
                    <a:lnTo>
                      <a:pt x="468" y="282"/>
                    </a:lnTo>
                    <a:lnTo>
                      <a:pt x="472" y="266"/>
                    </a:lnTo>
                    <a:lnTo>
                      <a:pt x="472" y="242"/>
                    </a:lnTo>
                    <a:lnTo>
                      <a:pt x="484" y="218"/>
                    </a:lnTo>
                    <a:lnTo>
                      <a:pt x="492" y="194"/>
                    </a:lnTo>
                    <a:lnTo>
                      <a:pt x="508" y="194"/>
                    </a:lnTo>
                    <a:lnTo>
                      <a:pt x="532" y="194"/>
                    </a:lnTo>
                    <a:lnTo>
                      <a:pt x="548" y="198"/>
                    </a:lnTo>
                    <a:lnTo>
                      <a:pt x="573" y="206"/>
                    </a:lnTo>
                    <a:lnTo>
                      <a:pt x="573" y="222"/>
                    </a:lnTo>
                    <a:lnTo>
                      <a:pt x="577" y="242"/>
                    </a:lnTo>
                    <a:lnTo>
                      <a:pt x="573" y="254"/>
                    </a:lnTo>
                    <a:lnTo>
                      <a:pt x="569" y="270"/>
                    </a:lnTo>
                    <a:lnTo>
                      <a:pt x="565" y="270"/>
                    </a:lnTo>
                    <a:lnTo>
                      <a:pt x="557" y="278"/>
                    </a:lnTo>
                    <a:lnTo>
                      <a:pt x="552" y="286"/>
                    </a:lnTo>
                    <a:lnTo>
                      <a:pt x="548" y="294"/>
                    </a:lnTo>
                    <a:lnTo>
                      <a:pt x="548" y="298"/>
                    </a:lnTo>
                    <a:lnTo>
                      <a:pt x="548" y="303"/>
                    </a:lnTo>
                    <a:lnTo>
                      <a:pt x="552" y="319"/>
                    </a:lnTo>
                    <a:lnTo>
                      <a:pt x="557" y="327"/>
                    </a:lnTo>
                    <a:lnTo>
                      <a:pt x="565" y="331"/>
                    </a:lnTo>
                    <a:lnTo>
                      <a:pt x="569" y="335"/>
                    </a:lnTo>
                    <a:lnTo>
                      <a:pt x="573" y="355"/>
                    </a:lnTo>
                    <a:lnTo>
                      <a:pt x="577" y="379"/>
                    </a:lnTo>
                    <a:lnTo>
                      <a:pt x="585" y="379"/>
                    </a:lnTo>
                    <a:lnTo>
                      <a:pt x="597" y="379"/>
                    </a:lnTo>
                    <a:lnTo>
                      <a:pt x="605" y="371"/>
                    </a:lnTo>
                    <a:lnTo>
                      <a:pt x="617" y="363"/>
                    </a:lnTo>
                    <a:lnTo>
                      <a:pt x="617" y="339"/>
                    </a:lnTo>
                    <a:lnTo>
                      <a:pt x="621" y="319"/>
                    </a:lnTo>
                    <a:lnTo>
                      <a:pt x="637" y="319"/>
                    </a:lnTo>
                    <a:lnTo>
                      <a:pt x="649" y="323"/>
                    </a:lnTo>
                    <a:lnTo>
                      <a:pt x="657" y="331"/>
                    </a:lnTo>
                    <a:lnTo>
                      <a:pt x="669" y="339"/>
                    </a:lnTo>
                    <a:lnTo>
                      <a:pt x="686" y="343"/>
                    </a:lnTo>
                    <a:lnTo>
                      <a:pt x="710" y="343"/>
                    </a:lnTo>
                    <a:lnTo>
                      <a:pt x="718" y="335"/>
                    </a:lnTo>
                    <a:lnTo>
                      <a:pt x="726" y="331"/>
                    </a:lnTo>
                    <a:lnTo>
                      <a:pt x="734" y="327"/>
                    </a:lnTo>
                    <a:lnTo>
                      <a:pt x="738" y="323"/>
                    </a:lnTo>
                    <a:lnTo>
                      <a:pt x="738" y="307"/>
                    </a:lnTo>
                    <a:lnTo>
                      <a:pt x="738" y="294"/>
                    </a:lnTo>
                    <a:lnTo>
                      <a:pt x="750" y="282"/>
                    </a:lnTo>
                    <a:lnTo>
                      <a:pt x="762" y="270"/>
                    </a:lnTo>
                    <a:lnTo>
                      <a:pt x="774" y="266"/>
                    </a:lnTo>
                    <a:lnTo>
                      <a:pt x="790" y="258"/>
                    </a:lnTo>
                    <a:lnTo>
                      <a:pt x="815" y="258"/>
                    </a:lnTo>
                    <a:lnTo>
                      <a:pt x="839" y="254"/>
                    </a:lnTo>
                    <a:lnTo>
                      <a:pt x="851" y="246"/>
                    </a:lnTo>
                    <a:lnTo>
                      <a:pt x="859" y="234"/>
                    </a:lnTo>
                    <a:lnTo>
                      <a:pt x="871" y="234"/>
                    </a:lnTo>
                    <a:lnTo>
                      <a:pt x="895" y="218"/>
                    </a:lnTo>
                    <a:lnTo>
                      <a:pt x="903" y="214"/>
                    </a:lnTo>
                    <a:lnTo>
                      <a:pt x="916" y="206"/>
                    </a:lnTo>
                    <a:lnTo>
                      <a:pt x="944" y="194"/>
                    </a:lnTo>
                    <a:lnTo>
                      <a:pt x="980" y="181"/>
                    </a:lnTo>
                    <a:lnTo>
                      <a:pt x="992" y="169"/>
                    </a:lnTo>
                    <a:lnTo>
                      <a:pt x="1000" y="157"/>
                    </a:lnTo>
                    <a:lnTo>
                      <a:pt x="1004" y="145"/>
                    </a:lnTo>
                    <a:lnTo>
                      <a:pt x="1008" y="137"/>
                    </a:lnTo>
                    <a:lnTo>
                      <a:pt x="1016" y="133"/>
                    </a:lnTo>
                    <a:lnTo>
                      <a:pt x="1020" y="133"/>
                    </a:lnTo>
                    <a:lnTo>
                      <a:pt x="1037" y="129"/>
                    </a:lnTo>
                    <a:lnTo>
                      <a:pt x="1057" y="129"/>
                    </a:lnTo>
                    <a:lnTo>
                      <a:pt x="1065" y="125"/>
                    </a:lnTo>
                    <a:lnTo>
                      <a:pt x="1069" y="121"/>
                    </a:lnTo>
                    <a:lnTo>
                      <a:pt x="1069" y="109"/>
                    </a:lnTo>
                    <a:lnTo>
                      <a:pt x="1069" y="97"/>
                    </a:lnTo>
                    <a:lnTo>
                      <a:pt x="1065" y="89"/>
                    </a:lnTo>
                    <a:lnTo>
                      <a:pt x="1057" y="81"/>
                    </a:lnTo>
                    <a:lnTo>
                      <a:pt x="1053" y="81"/>
                    </a:lnTo>
                    <a:lnTo>
                      <a:pt x="1049" y="77"/>
                    </a:lnTo>
                    <a:lnTo>
                      <a:pt x="1045" y="77"/>
                    </a:lnTo>
                    <a:lnTo>
                      <a:pt x="1033" y="64"/>
                    </a:lnTo>
                    <a:lnTo>
                      <a:pt x="1029" y="52"/>
                    </a:lnTo>
                    <a:lnTo>
                      <a:pt x="1020" y="44"/>
                    </a:lnTo>
                    <a:lnTo>
                      <a:pt x="1000" y="36"/>
                    </a:lnTo>
                    <a:lnTo>
                      <a:pt x="984" y="28"/>
                    </a:lnTo>
                    <a:lnTo>
                      <a:pt x="980" y="28"/>
                    </a:lnTo>
                    <a:lnTo>
                      <a:pt x="980" y="12"/>
                    </a:lnTo>
                    <a:lnTo>
                      <a:pt x="984" y="0"/>
                    </a:lnTo>
                    <a:lnTo>
                      <a:pt x="1008" y="0"/>
                    </a:lnTo>
                    <a:lnTo>
                      <a:pt x="1037" y="0"/>
                    </a:lnTo>
                    <a:lnTo>
                      <a:pt x="1065" y="16"/>
                    </a:lnTo>
                    <a:lnTo>
                      <a:pt x="1093" y="40"/>
                    </a:lnTo>
                    <a:lnTo>
                      <a:pt x="1113" y="40"/>
                    </a:lnTo>
                    <a:lnTo>
                      <a:pt x="1133" y="44"/>
                    </a:lnTo>
                    <a:lnTo>
                      <a:pt x="1170" y="28"/>
                    </a:lnTo>
                    <a:lnTo>
                      <a:pt x="1194" y="24"/>
                    </a:lnTo>
                    <a:lnTo>
                      <a:pt x="1202" y="24"/>
                    </a:lnTo>
                    <a:lnTo>
                      <a:pt x="1210" y="24"/>
                    </a:lnTo>
                    <a:lnTo>
                      <a:pt x="1222" y="28"/>
                    </a:lnTo>
                    <a:lnTo>
                      <a:pt x="1226" y="28"/>
                    </a:lnTo>
                    <a:lnTo>
                      <a:pt x="1230" y="40"/>
                    </a:lnTo>
                    <a:lnTo>
                      <a:pt x="1238" y="48"/>
                    </a:lnTo>
                    <a:lnTo>
                      <a:pt x="1242" y="60"/>
                    </a:lnTo>
                    <a:lnTo>
                      <a:pt x="1250" y="64"/>
                    </a:lnTo>
                    <a:lnTo>
                      <a:pt x="1254" y="81"/>
                    </a:lnTo>
                    <a:lnTo>
                      <a:pt x="1258" y="89"/>
                    </a:lnTo>
                    <a:lnTo>
                      <a:pt x="1267" y="105"/>
                    </a:lnTo>
                    <a:lnTo>
                      <a:pt x="1283" y="125"/>
                    </a:lnTo>
                    <a:lnTo>
                      <a:pt x="1291" y="129"/>
                    </a:lnTo>
                    <a:lnTo>
                      <a:pt x="1303" y="133"/>
                    </a:lnTo>
                    <a:lnTo>
                      <a:pt x="1303" y="137"/>
                    </a:lnTo>
                    <a:lnTo>
                      <a:pt x="1303" y="145"/>
                    </a:lnTo>
                    <a:lnTo>
                      <a:pt x="1311" y="149"/>
                    </a:lnTo>
                    <a:lnTo>
                      <a:pt x="1335" y="157"/>
                    </a:lnTo>
                    <a:lnTo>
                      <a:pt x="1339" y="161"/>
                    </a:lnTo>
                    <a:lnTo>
                      <a:pt x="1339" y="169"/>
                    </a:lnTo>
                    <a:lnTo>
                      <a:pt x="1355" y="173"/>
                    </a:lnTo>
                    <a:lnTo>
                      <a:pt x="1367" y="181"/>
                    </a:lnTo>
                    <a:lnTo>
                      <a:pt x="1371" y="186"/>
                    </a:lnTo>
                    <a:lnTo>
                      <a:pt x="1371" y="194"/>
                    </a:lnTo>
                    <a:lnTo>
                      <a:pt x="1371" y="218"/>
                    </a:lnTo>
                    <a:lnTo>
                      <a:pt x="1367" y="234"/>
                    </a:lnTo>
                    <a:lnTo>
                      <a:pt x="1363" y="242"/>
                    </a:lnTo>
                    <a:lnTo>
                      <a:pt x="1363" y="246"/>
                    </a:lnTo>
                    <a:lnTo>
                      <a:pt x="1363" y="254"/>
                    </a:lnTo>
                    <a:lnTo>
                      <a:pt x="1363" y="266"/>
                    </a:lnTo>
                    <a:lnTo>
                      <a:pt x="1363" y="270"/>
                    </a:lnTo>
                    <a:lnTo>
                      <a:pt x="1367" y="270"/>
                    </a:lnTo>
                    <a:lnTo>
                      <a:pt x="1388" y="270"/>
                    </a:lnTo>
                    <a:lnTo>
                      <a:pt x="1408" y="270"/>
                    </a:lnTo>
                    <a:lnTo>
                      <a:pt x="1408" y="282"/>
                    </a:lnTo>
                    <a:lnTo>
                      <a:pt x="1416" y="290"/>
                    </a:lnTo>
                    <a:lnTo>
                      <a:pt x="1420" y="331"/>
                    </a:lnTo>
                    <a:lnTo>
                      <a:pt x="1424" y="379"/>
                    </a:lnTo>
                    <a:lnTo>
                      <a:pt x="1428" y="399"/>
                    </a:lnTo>
                    <a:lnTo>
                      <a:pt x="1436" y="411"/>
                    </a:lnTo>
                    <a:lnTo>
                      <a:pt x="1436" y="436"/>
                    </a:lnTo>
                    <a:lnTo>
                      <a:pt x="1432" y="464"/>
                    </a:lnTo>
                    <a:lnTo>
                      <a:pt x="1428" y="476"/>
                    </a:lnTo>
                    <a:lnTo>
                      <a:pt x="1424" y="488"/>
                    </a:lnTo>
                    <a:lnTo>
                      <a:pt x="1424" y="500"/>
                    </a:lnTo>
                    <a:lnTo>
                      <a:pt x="1424" y="516"/>
                    </a:lnTo>
                    <a:lnTo>
                      <a:pt x="1424" y="524"/>
                    </a:lnTo>
                    <a:lnTo>
                      <a:pt x="1428" y="532"/>
                    </a:lnTo>
                    <a:lnTo>
                      <a:pt x="1432" y="557"/>
                    </a:lnTo>
                    <a:lnTo>
                      <a:pt x="1436" y="581"/>
                    </a:lnTo>
                    <a:lnTo>
                      <a:pt x="1436" y="585"/>
                    </a:lnTo>
                    <a:lnTo>
                      <a:pt x="1444" y="585"/>
                    </a:lnTo>
                    <a:lnTo>
                      <a:pt x="1444" y="601"/>
                    </a:lnTo>
                    <a:lnTo>
                      <a:pt x="1448" y="617"/>
                    </a:lnTo>
                    <a:lnTo>
                      <a:pt x="1444" y="641"/>
                    </a:lnTo>
                    <a:lnTo>
                      <a:pt x="1444" y="666"/>
                    </a:lnTo>
                    <a:lnTo>
                      <a:pt x="1424" y="674"/>
                    </a:lnTo>
                    <a:lnTo>
                      <a:pt x="1420" y="682"/>
                    </a:lnTo>
                    <a:lnTo>
                      <a:pt x="1416" y="686"/>
                    </a:lnTo>
                    <a:lnTo>
                      <a:pt x="1408" y="698"/>
                    </a:lnTo>
                    <a:lnTo>
                      <a:pt x="1400" y="702"/>
                    </a:lnTo>
                    <a:lnTo>
                      <a:pt x="1392" y="710"/>
                    </a:lnTo>
                    <a:lnTo>
                      <a:pt x="1388" y="710"/>
                    </a:lnTo>
                    <a:lnTo>
                      <a:pt x="1384" y="718"/>
                    </a:lnTo>
                    <a:lnTo>
                      <a:pt x="1371" y="722"/>
                    </a:lnTo>
                    <a:lnTo>
                      <a:pt x="1363" y="730"/>
                    </a:lnTo>
                    <a:lnTo>
                      <a:pt x="1363" y="734"/>
                    </a:lnTo>
                    <a:lnTo>
                      <a:pt x="1363" y="742"/>
                    </a:lnTo>
                    <a:lnTo>
                      <a:pt x="1355" y="746"/>
                    </a:lnTo>
                    <a:lnTo>
                      <a:pt x="1343" y="750"/>
                    </a:lnTo>
                    <a:lnTo>
                      <a:pt x="1339" y="758"/>
                    </a:lnTo>
                    <a:lnTo>
                      <a:pt x="1335" y="771"/>
                    </a:lnTo>
                    <a:lnTo>
                      <a:pt x="1319" y="775"/>
                    </a:lnTo>
                    <a:lnTo>
                      <a:pt x="1303" y="783"/>
                    </a:lnTo>
                    <a:lnTo>
                      <a:pt x="1283" y="795"/>
                    </a:lnTo>
                    <a:lnTo>
                      <a:pt x="1262" y="815"/>
                    </a:lnTo>
                    <a:lnTo>
                      <a:pt x="1258" y="823"/>
                    </a:lnTo>
                    <a:lnTo>
                      <a:pt x="1254" y="831"/>
                    </a:lnTo>
                    <a:lnTo>
                      <a:pt x="1214" y="827"/>
                    </a:lnTo>
                    <a:lnTo>
                      <a:pt x="1178" y="819"/>
                    </a:lnTo>
                    <a:lnTo>
                      <a:pt x="1150" y="795"/>
                    </a:lnTo>
                    <a:lnTo>
                      <a:pt x="1141" y="787"/>
                    </a:lnTo>
                    <a:lnTo>
                      <a:pt x="1129" y="787"/>
                    </a:lnTo>
                    <a:lnTo>
                      <a:pt x="1117" y="783"/>
                    </a:lnTo>
                    <a:lnTo>
                      <a:pt x="1109" y="775"/>
                    </a:lnTo>
                    <a:lnTo>
                      <a:pt x="1097" y="766"/>
                    </a:lnTo>
                    <a:lnTo>
                      <a:pt x="1085" y="758"/>
                    </a:lnTo>
                    <a:lnTo>
                      <a:pt x="1077" y="754"/>
                    </a:lnTo>
                    <a:lnTo>
                      <a:pt x="1037" y="754"/>
                    </a:lnTo>
                    <a:lnTo>
                      <a:pt x="1000" y="754"/>
                    </a:lnTo>
                    <a:lnTo>
                      <a:pt x="984" y="758"/>
                    </a:lnTo>
                    <a:lnTo>
                      <a:pt x="956" y="779"/>
                    </a:lnTo>
                    <a:lnTo>
                      <a:pt x="932" y="787"/>
                    </a:lnTo>
                    <a:lnTo>
                      <a:pt x="903" y="795"/>
                    </a:lnTo>
                    <a:lnTo>
                      <a:pt x="871" y="807"/>
                    </a:lnTo>
                    <a:lnTo>
                      <a:pt x="855" y="823"/>
                    </a:lnTo>
                    <a:lnTo>
                      <a:pt x="799" y="839"/>
                    </a:lnTo>
                    <a:lnTo>
                      <a:pt x="746" y="851"/>
                    </a:lnTo>
                    <a:lnTo>
                      <a:pt x="734" y="851"/>
                    </a:lnTo>
                    <a:lnTo>
                      <a:pt x="718" y="851"/>
                    </a:lnTo>
                    <a:lnTo>
                      <a:pt x="714" y="847"/>
                    </a:lnTo>
                    <a:lnTo>
                      <a:pt x="690" y="843"/>
                    </a:lnTo>
                    <a:lnTo>
                      <a:pt x="686" y="839"/>
                    </a:lnTo>
                    <a:lnTo>
                      <a:pt x="621" y="815"/>
                    </a:lnTo>
                    <a:lnTo>
                      <a:pt x="593" y="803"/>
                    </a:lnTo>
                    <a:lnTo>
                      <a:pt x="581" y="795"/>
                    </a:lnTo>
                    <a:lnTo>
                      <a:pt x="577" y="787"/>
                    </a:lnTo>
                    <a:lnTo>
                      <a:pt x="544" y="787"/>
                    </a:lnTo>
                    <a:lnTo>
                      <a:pt x="508" y="787"/>
                    </a:lnTo>
                    <a:lnTo>
                      <a:pt x="492" y="779"/>
                    </a:lnTo>
                    <a:lnTo>
                      <a:pt x="456" y="766"/>
                    </a:lnTo>
                    <a:lnTo>
                      <a:pt x="440" y="766"/>
                    </a:lnTo>
                    <a:lnTo>
                      <a:pt x="423" y="766"/>
                    </a:lnTo>
                    <a:lnTo>
                      <a:pt x="391" y="775"/>
                    </a:lnTo>
                    <a:lnTo>
                      <a:pt x="355" y="779"/>
                    </a:lnTo>
                    <a:lnTo>
                      <a:pt x="347" y="783"/>
                    </a:lnTo>
                    <a:lnTo>
                      <a:pt x="343" y="791"/>
                    </a:lnTo>
                    <a:lnTo>
                      <a:pt x="339" y="795"/>
                    </a:lnTo>
                    <a:lnTo>
                      <a:pt x="339" y="803"/>
                    </a:lnTo>
                    <a:lnTo>
                      <a:pt x="335" y="831"/>
                    </a:lnTo>
                    <a:lnTo>
                      <a:pt x="335" y="863"/>
                    </a:lnTo>
                    <a:lnTo>
                      <a:pt x="327" y="867"/>
                    </a:lnTo>
                    <a:lnTo>
                      <a:pt x="318" y="871"/>
                    </a:lnTo>
                    <a:lnTo>
                      <a:pt x="318" y="892"/>
                    </a:lnTo>
                    <a:lnTo>
                      <a:pt x="314" y="916"/>
                    </a:lnTo>
                    <a:lnTo>
                      <a:pt x="302" y="936"/>
                    </a:lnTo>
                    <a:lnTo>
                      <a:pt x="294" y="952"/>
                    </a:lnTo>
                    <a:lnTo>
                      <a:pt x="286" y="960"/>
                    </a:lnTo>
                    <a:lnTo>
                      <a:pt x="270" y="964"/>
                    </a:lnTo>
                    <a:lnTo>
                      <a:pt x="258" y="972"/>
                    </a:lnTo>
                    <a:lnTo>
                      <a:pt x="242" y="976"/>
                    </a:lnTo>
                    <a:lnTo>
                      <a:pt x="234" y="980"/>
                    </a:lnTo>
                    <a:lnTo>
                      <a:pt x="222" y="988"/>
                    </a:lnTo>
                    <a:lnTo>
                      <a:pt x="214" y="988"/>
                    </a:lnTo>
                    <a:lnTo>
                      <a:pt x="206" y="988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39" name="Freeform 47"/>
              <p:cNvSpPr>
                <a:spLocks/>
              </p:cNvSpPr>
              <p:nvPr/>
            </p:nvSpPr>
            <p:spPr bwMode="auto">
              <a:xfrm>
                <a:off x="6137363" y="2758087"/>
                <a:ext cx="1079501" cy="919327"/>
              </a:xfrm>
              <a:custGeom>
                <a:avLst/>
                <a:gdLst>
                  <a:gd name="T0" fmla="*/ 2147483647 w 1203"/>
                  <a:gd name="T1" fmla="*/ 2147483647 h 1032"/>
                  <a:gd name="T2" fmla="*/ 2147483647 w 1203"/>
                  <a:gd name="T3" fmla="*/ 2147483647 h 1032"/>
                  <a:gd name="T4" fmla="*/ 2147483647 w 1203"/>
                  <a:gd name="T5" fmla="*/ 2147483647 h 1032"/>
                  <a:gd name="T6" fmla="*/ 2147483647 w 1203"/>
                  <a:gd name="T7" fmla="*/ 2147483647 h 1032"/>
                  <a:gd name="T8" fmla="*/ 2147483647 w 1203"/>
                  <a:gd name="T9" fmla="*/ 2147483647 h 1032"/>
                  <a:gd name="T10" fmla="*/ 2147483647 w 1203"/>
                  <a:gd name="T11" fmla="*/ 2147483647 h 1032"/>
                  <a:gd name="T12" fmla="*/ 2147483647 w 1203"/>
                  <a:gd name="T13" fmla="*/ 2147483647 h 1032"/>
                  <a:gd name="T14" fmla="*/ 2147483647 w 1203"/>
                  <a:gd name="T15" fmla="*/ 2147483647 h 1032"/>
                  <a:gd name="T16" fmla="*/ 2147483647 w 1203"/>
                  <a:gd name="T17" fmla="*/ 2147483647 h 1032"/>
                  <a:gd name="T18" fmla="*/ 2147483647 w 1203"/>
                  <a:gd name="T19" fmla="*/ 2147483647 h 1032"/>
                  <a:gd name="T20" fmla="*/ 2147483647 w 1203"/>
                  <a:gd name="T21" fmla="*/ 2147483647 h 1032"/>
                  <a:gd name="T22" fmla="*/ 2147483647 w 1203"/>
                  <a:gd name="T23" fmla="*/ 2147483647 h 1032"/>
                  <a:gd name="T24" fmla="*/ 2147483647 w 1203"/>
                  <a:gd name="T25" fmla="*/ 2147483647 h 1032"/>
                  <a:gd name="T26" fmla="*/ 2147483647 w 1203"/>
                  <a:gd name="T27" fmla="*/ 2147483647 h 1032"/>
                  <a:gd name="T28" fmla="*/ 2147483647 w 1203"/>
                  <a:gd name="T29" fmla="*/ 2147483647 h 1032"/>
                  <a:gd name="T30" fmla="*/ 2147483647 w 1203"/>
                  <a:gd name="T31" fmla="*/ 2147483647 h 1032"/>
                  <a:gd name="T32" fmla="*/ 2147483647 w 1203"/>
                  <a:gd name="T33" fmla="*/ 2147483647 h 1032"/>
                  <a:gd name="T34" fmla="*/ 2147483647 w 1203"/>
                  <a:gd name="T35" fmla="*/ 2147483647 h 1032"/>
                  <a:gd name="T36" fmla="*/ 2147483647 w 1203"/>
                  <a:gd name="T37" fmla="*/ 2147483647 h 1032"/>
                  <a:gd name="T38" fmla="*/ 2147483647 w 1203"/>
                  <a:gd name="T39" fmla="*/ 2147483647 h 1032"/>
                  <a:gd name="T40" fmla="*/ 2147483647 w 1203"/>
                  <a:gd name="T41" fmla="*/ 2147483647 h 1032"/>
                  <a:gd name="T42" fmla="*/ 2147483647 w 1203"/>
                  <a:gd name="T43" fmla="*/ 2147483647 h 1032"/>
                  <a:gd name="T44" fmla="*/ 2147483647 w 1203"/>
                  <a:gd name="T45" fmla="*/ 2147483647 h 1032"/>
                  <a:gd name="T46" fmla="*/ 2147483647 w 1203"/>
                  <a:gd name="T47" fmla="*/ 2147483647 h 1032"/>
                  <a:gd name="T48" fmla="*/ 2147483647 w 1203"/>
                  <a:gd name="T49" fmla="*/ 2147483647 h 1032"/>
                  <a:gd name="T50" fmla="*/ 2147483647 w 1203"/>
                  <a:gd name="T51" fmla="*/ 2147483647 h 1032"/>
                  <a:gd name="T52" fmla="*/ 2147483647 w 1203"/>
                  <a:gd name="T53" fmla="*/ 2147483647 h 1032"/>
                  <a:gd name="T54" fmla="*/ 2147483647 w 1203"/>
                  <a:gd name="T55" fmla="*/ 2147483647 h 1032"/>
                  <a:gd name="T56" fmla="*/ 2147483647 w 1203"/>
                  <a:gd name="T57" fmla="*/ 2147483647 h 1032"/>
                  <a:gd name="T58" fmla="*/ 2147483647 w 1203"/>
                  <a:gd name="T59" fmla="*/ 2147483647 h 1032"/>
                  <a:gd name="T60" fmla="*/ 2147483647 w 1203"/>
                  <a:gd name="T61" fmla="*/ 2147483647 h 1032"/>
                  <a:gd name="T62" fmla="*/ 2147483647 w 1203"/>
                  <a:gd name="T63" fmla="*/ 2147483647 h 1032"/>
                  <a:gd name="T64" fmla="*/ 2147483647 w 1203"/>
                  <a:gd name="T65" fmla="*/ 2147483647 h 1032"/>
                  <a:gd name="T66" fmla="*/ 2147483647 w 1203"/>
                  <a:gd name="T67" fmla="*/ 2147483647 h 1032"/>
                  <a:gd name="T68" fmla="*/ 2147483647 w 1203"/>
                  <a:gd name="T69" fmla="*/ 2147483647 h 1032"/>
                  <a:gd name="T70" fmla="*/ 2147483647 w 1203"/>
                  <a:gd name="T71" fmla="*/ 2147483647 h 1032"/>
                  <a:gd name="T72" fmla="*/ 2147483647 w 1203"/>
                  <a:gd name="T73" fmla="*/ 0 h 1032"/>
                  <a:gd name="T74" fmla="*/ 2147483647 w 1203"/>
                  <a:gd name="T75" fmla="*/ 2147483647 h 1032"/>
                  <a:gd name="T76" fmla="*/ 2147483647 w 1203"/>
                  <a:gd name="T77" fmla="*/ 2147483647 h 1032"/>
                  <a:gd name="T78" fmla="*/ 2147483647 w 1203"/>
                  <a:gd name="T79" fmla="*/ 2147483647 h 1032"/>
                  <a:gd name="T80" fmla="*/ 2147483647 w 1203"/>
                  <a:gd name="T81" fmla="*/ 2147483647 h 1032"/>
                  <a:gd name="T82" fmla="*/ 2147483647 w 1203"/>
                  <a:gd name="T83" fmla="*/ 2147483647 h 1032"/>
                  <a:gd name="T84" fmla="*/ 2147483647 w 1203"/>
                  <a:gd name="T85" fmla="*/ 2147483647 h 1032"/>
                  <a:gd name="T86" fmla="*/ 2147483647 w 1203"/>
                  <a:gd name="T87" fmla="*/ 2147483647 h 1032"/>
                  <a:gd name="T88" fmla="*/ 2147483647 w 1203"/>
                  <a:gd name="T89" fmla="*/ 2147483647 h 1032"/>
                  <a:gd name="T90" fmla="*/ 2147483647 w 1203"/>
                  <a:gd name="T91" fmla="*/ 2147483647 h 1032"/>
                  <a:gd name="T92" fmla="*/ 2147483647 w 1203"/>
                  <a:gd name="T93" fmla="*/ 2147483647 h 1032"/>
                  <a:gd name="T94" fmla="*/ 2147483647 w 1203"/>
                  <a:gd name="T95" fmla="*/ 2147483647 h 1032"/>
                  <a:gd name="T96" fmla="*/ 2147483647 w 1203"/>
                  <a:gd name="T97" fmla="*/ 2147483647 h 1032"/>
                  <a:gd name="T98" fmla="*/ 2147483647 w 1203"/>
                  <a:gd name="T99" fmla="*/ 2147483647 h 1032"/>
                  <a:gd name="T100" fmla="*/ 2147483647 w 1203"/>
                  <a:gd name="T101" fmla="*/ 2147483647 h 1032"/>
                  <a:gd name="T102" fmla="*/ 2147483647 w 1203"/>
                  <a:gd name="T103" fmla="*/ 2147483647 h 1032"/>
                  <a:gd name="T104" fmla="*/ 2147483647 w 1203"/>
                  <a:gd name="T105" fmla="*/ 2147483647 h 1032"/>
                  <a:gd name="T106" fmla="*/ 2147483647 w 1203"/>
                  <a:gd name="T107" fmla="*/ 2147483647 h 1032"/>
                  <a:gd name="T108" fmla="*/ 2147483647 w 1203"/>
                  <a:gd name="T109" fmla="*/ 2147483647 h 1032"/>
                  <a:gd name="T110" fmla="*/ 2147483647 w 1203"/>
                  <a:gd name="T111" fmla="*/ 2147483647 h 1032"/>
                  <a:gd name="T112" fmla="*/ 2147483647 w 1203"/>
                  <a:gd name="T113" fmla="*/ 2147483647 h 1032"/>
                  <a:gd name="T114" fmla="*/ 2147483647 w 1203"/>
                  <a:gd name="T115" fmla="*/ 2147483647 h 1032"/>
                  <a:gd name="T116" fmla="*/ 2147483647 w 1203"/>
                  <a:gd name="T117" fmla="*/ 2147483647 h 1032"/>
                  <a:gd name="T118" fmla="*/ 2147483647 w 1203"/>
                  <a:gd name="T119" fmla="*/ 2147483647 h 1032"/>
                  <a:gd name="T120" fmla="*/ 2147483647 w 1203"/>
                  <a:gd name="T121" fmla="*/ 2147483647 h 1032"/>
                  <a:gd name="T122" fmla="*/ 2147483647 w 1203"/>
                  <a:gd name="T123" fmla="*/ 2147483647 h 1032"/>
                  <a:gd name="T124" fmla="*/ 2147483647 w 1203"/>
                  <a:gd name="T125" fmla="*/ 2147483647 h 10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203"/>
                  <a:gd name="T190" fmla="*/ 0 h 1032"/>
                  <a:gd name="T191" fmla="*/ 1203 w 1203"/>
                  <a:gd name="T192" fmla="*/ 1032 h 103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203" h="1032">
                    <a:moveTo>
                      <a:pt x="783" y="1032"/>
                    </a:moveTo>
                    <a:lnTo>
                      <a:pt x="767" y="1028"/>
                    </a:lnTo>
                    <a:lnTo>
                      <a:pt x="759" y="1020"/>
                    </a:lnTo>
                    <a:lnTo>
                      <a:pt x="735" y="1008"/>
                    </a:lnTo>
                    <a:lnTo>
                      <a:pt x="731" y="1004"/>
                    </a:lnTo>
                    <a:lnTo>
                      <a:pt x="731" y="996"/>
                    </a:lnTo>
                    <a:lnTo>
                      <a:pt x="731" y="988"/>
                    </a:lnTo>
                    <a:lnTo>
                      <a:pt x="739" y="984"/>
                    </a:lnTo>
                    <a:lnTo>
                      <a:pt x="751" y="972"/>
                    </a:lnTo>
                    <a:lnTo>
                      <a:pt x="755" y="972"/>
                    </a:lnTo>
                    <a:lnTo>
                      <a:pt x="759" y="968"/>
                    </a:lnTo>
                    <a:lnTo>
                      <a:pt x="763" y="956"/>
                    </a:lnTo>
                    <a:lnTo>
                      <a:pt x="767" y="932"/>
                    </a:lnTo>
                    <a:lnTo>
                      <a:pt x="775" y="932"/>
                    </a:lnTo>
                    <a:lnTo>
                      <a:pt x="779" y="915"/>
                    </a:lnTo>
                    <a:lnTo>
                      <a:pt x="783" y="903"/>
                    </a:lnTo>
                    <a:lnTo>
                      <a:pt x="783" y="895"/>
                    </a:lnTo>
                    <a:lnTo>
                      <a:pt x="783" y="887"/>
                    </a:lnTo>
                    <a:lnTo>
                      <a:pt x="775" y="871"/>
                    </a:lnTo>
                    <a:lnTo>
                      <a:pt x="767" y="867"/>
                    </a:lnTo>
                    <a:lnTo>
                      <a:pt x="759" y="867"/>
                    </a:lnTo>
                    <a:lnTo>
                      <a:pt x="755" y="867"/>
                    </a:lnTo>
                    <a:lnTo>
                      <a:pt x="751" y="871"/>
                    </a:lnTo>
                    <a:lnTo>
                      <a:pt x="747" y="875"/>
                    </a:lnTo>
                    <a:lnTo>
                      <a:pt x="731" y="875"/>
                    </a:lnTo>
                    <a:lnTo>
                      <a:pt x="718" y="871"/>
                    </a:lnTo>
                    <a:lnTo>
                      <a:pt x="718" y="859"/>
                    </a:lnTo>
                    <a:lnTo>
                      <a:pt x="714" y="847"/>
                    </a:lnTo>
                    <a:lnTo>
                      <a:pt x="706" y="843"/>
                    </a:lnTo>
                    <a:lnTo>
                      <a:pt x="698" y="839"/>
                    </a:lnTo>
                    <a:lnTo>
                      <a:pt x="682" y="839"/>
                    </a:lnTo>
                    <a:lnTo>
                      <a:pt x="670" y="839"/>
                    </a:lnTo>
                    <a:lnTo>
                      <a:pt x="666" y="839"/>
                    </a:lnTo>
                    <a:lnTo>
                      <a:pt x="662" y="843"/>
                    </a:lnTo>
                    <a:lnTo>
                      <a:pt x="654" y="855"/>
                    </a:lnTo>
                    <a:lnTo>
                      <a:pt x="646" y="867"/>
                    </a:lnTo>
                    <a:lnTo>
                      <a:pt x="622" y="867"/>
                    </a:lnTo>
                    <a:lnTo>
                      <a:pt x="589" y="859"/>
                    </a:lnTo>
                    <a:lnTo>
                      <a:pt x="585" y="859"/>
                    </a:lnTo>
                    <a:lnTo>
                      <a:pt x="581" y="859"/>
                    </a:lnTo>
                    <a:lnTo>
                      <a:pt x="549" y="855"/>
                    </a:lnTo>
                    <a:lnTo>
                      <a:pt x="513" y="847"/>
                    </a:lnTo>
                    <a:lnTo>
                      <a:pt x="501" y="839"/>
                    </a:lnTo>
                    <a:lnTo>
                      <a:pt x="488" y="831"/>
                    </a:lnTo>
                    <a:lnTo>
                      <a:pt x="476" y="835"/>
                    </a:lnTo>
                    <a:lnTo>
                      <a:pt x="456" y="835"/>
                    </a:lnTo>
                    <a:lnTo>
                      <a:pt x="428" y="855"/>
                    </a:lnTo>
                    <a:lnTo>
                      <a:pt x="408" y="859"/>
                    </a:lnTo>
                    <a:lnTo>
                      <a:pt x="392" y="859"/>
                    </a:lnTo>
                    <a:lnTo>
                      <a:pt x="371" y="859"/>
                    </a:lnTo>
                    <a:lnTo>
                      <a:pt x="359" y="855"/>
                    </a:lnTo>
                    <a:lnTo>
                      <a:pt x="351" y="839"/>
                    </a:lnTo>
                    <a:lnTo>
                      <a:pt x="339" y="819"/>
                    </a:lnTo>
                    <a:lnTo>
                      <a:pt x="327" y="794"/>
                    </a:lnTo>
                    <a:lnTo>
                      <a:pt x="311" y="794"/>
                    </a:lnTo>
                    <a:lnTo>
                      <a:pt x="299" y="794"/>
                    </a:lnTo>
                    <a:lnTo>
                      <a:pt x="263" y="798"/>
                    </a:lnTo>
                    <a:lnTo>
                      <a:pt x="234" y="802"/>
                    </a:lnTo>
                    <a:lnTo>
                      <a:pt x="222" y="811"/>
                    </a:lnTo>
                    <a:lnTo>
                      <a:pt x="214" y="827"/>
                    </a:lnTo>
                    <a:lnTo>
                      <a:pt x="198" y="827"/>
                    </a:lnTo>
                    <a:lnTo>
                      <a:pt x="182" y="827"/>
                    </a:lnTo>
                    <a:lnTo>
                      <a:pt x="170" y="819"/>
                    </a:lnTo>
                    <a:lnTo>
                      <a:pt x="150" y="811"/>
                    </a:lnTo>
                    <a:lnTo>
                      <a:pt x="117" y="811"/>
                    </a:lnTo>
                    <a:lnTo>
                      <a:pt x="85" y="811"/>
                    </a:lnTo>
                    <a:lnTo>
                      <a:pt x="65" y="819"/>
                    </a:lnTo>
                    <a:lnTo>
                      <a:pt x="45" y="827"/>
                    </a:lnTo>
                    <a:lnTo>
                      <a:pt x="37" y="827"/>
                    </a:lnTo>
                    <a:lnTo>
                      <a:pt x="21" y="827"/>
                    </a:lnTo>
                    <a:lnTo>
                      <a:pt x="21" y="811"/>
                    </a:lnTo>
                    <a:lnTo>
                      <a:pt x="4" y="798"/>
                    </a:lnTo>
                    <a:lnTo>
                      <a:pt x="0" y="782"/>
                    </a:lnTo>
                    <a:lnTo>
                      <a:pt x="0" y="758"/>
                    </a:lnTo>
                    <a:lnTo>
                      <a:pt x="4" y="758"/>
                    </a:lnTo>
                    <a:lnTo>
                      <a:pt x="4" y="746"/>
                    </a:lnTo>
                    <a:lnTo>
                      <a:pt x="4" y="738"/>
                    </a:lnTo>
                    <a:lnTo>
                      <a:pt x="8" y="726"/>
                    </a:lnTo>
                    <a:lnTo>
                      <a:pt x="8" y="710"/>
                    </a:lnTo>
                    <a:lnTo>
                      <a:pt x="21" y="706"/>
                    </a:lnTo>
                    <a:lnTo>
                      <a:pt x="29" y="702"/>
                    </a:lnTo>
                    <a:lnTo>
                      <a:pt x="69" y="702"/>
                    </a:lnTo>
                    <a:lnTo>
                      <a:pt x="113" y="702"/>
                    </a:lnTo>
                    <a:lnTo>
                      <a:pt x="121" y="698"/>
                    </a:lnTo>
                    <a:lnTo>
                      <a:pt x="133" y="698"/>
                    </a:lnTo>
                    <a:lnTo>
                      <a:pt x="142" y="694"/>
                    </a:lnTo>
                    <a:lnTo>
                      <a:pt x="150" y="690"/>
                    </a:lnTo>
                    <a:lnTo>
                      <a:pt x="162" y="677"/>
                    </a:lnTo>
                    <a:lnTo>
                      <a:pt x="174" y="665"/>
                    </a:lnTo>
                    <a:lnTo>
                      <a:pt x="178" y="653"/>
                    </a:lnTo>
                    <a:lnTo>
                      <a:pt x="186" y="641"/>
                    </a:lnTo>
                    <a:lnTo>
                      <a:pt x="186" y="621"/>
                    </a:lnTo>
                    <a:lnTo>
                      <a:pt x="182" y="613"/>
                    </a:lnTo>
                    <a:lnTo>
                      <a:pt x="178" y="605"/>
                    </a:lnTo>
                    <a:lnTo>
                      <a:pt x="174" y="605"/>
                    </a:lnTo>
                    <a:lnTo>
                      <a:pt x="166" y="585"/>
                    </a:lnTo>
                    <a:lnTo>
                      <a:pt x="162" y="577"/>
                    </a:lnTo>
                    <a:lnTo>
                      <a:pt x="142" y="573"/>
                    </a:lnTo>
                    <a:lnTo>
                      <a:pt x="121" y="564"/>
                    </a:lnTo>
                    <a:lnTo>
                      <a:pt x="121" y="532"/>
                    </a:lnTo>
                    <a:lnTo>
                      <a:pt x="129" y="500"/>
                    </a:lnTo>
                    <a:lnTo>
                      <a:pt x="117" y="484"/>
                    </a:lnTo>
                    <a:lnTo>
                      <a:pt x="105" y="464"/>
                    </a:lnTo>
                    <a:lnTo>
                      <a:pt x="105" y="456"/>
                    </a:lnTo>
                    <a:lnTo>
                      <a:pt x="105" y="447"/>
                    </a:lnTo>
                    <a:lnTo>
                      <a:pt x="109" y="439"/>
                    </a:lnTo>
                    <a:lnTo>
                      <a:pt x="117" y="427"/>
                    </a:lnTo>
                    <a:lnTo>
                      <a:pt x="146" y="427"/>
                    </a:lnTo>
                    <a:lnTo>
                      <a:pt x="178" y="427"/>
                    </a:lnTo>
                    <a:lnTo>
                      <a:pt x="186" y="431"/>
                    </a:lnTo>
                    <a:lnTo>
                      <a:pt x="194" y="435"/>
                    </a:lnTo>
                    <a:lnTo>
                      <a:pt x="202" y="439"/>
                    </a:lnTo>
                    <a:lnTo>
                      <a:pt x="214" y="439"/>
                    </a:lnTo>
                    <a:lnTo>
                      <a:pt x="226" y="443"/>
                    </a:lnTo>
                    <a:lnTo>
                      <a:pt x="250" y="456"/>
                    </a:lnTo>
                    <a:lnTo>
                      <a:pt x="275" y="456"/>
                    </a:lnTo>
                    <a:lnTo>
                      <a:pt x="327" y="456"/>
                    </a:lnTo>
                    <a:lnTo>
                      <a:pt x="331" y="456"/>
                    </a:lnTo>
                    <a:lnTo>
                      <a:pt x="339" y="451"/>
                    </a:lnTo>
                    <a:lnTo>
                      <a:pt x="371" y="443"/>
                    </a:lnTo>
                    <a:lnTo>
                      <a:pt x="408" y="435"/>
                    </a:lnTo>
                    <a:lnTo>
                      <a:pt x="416" y="435"/>
                    </a:lnTo>
                    <a:lnTo>
                      <a:pt x="420" y="439"/>
                    </a:lnTo>
                    <a:lnTo>
                      <a:pt x="432" y="451"/>
                    </a:lnTo>
                    <a:lnTo>
                      <a:pt x="452" y="472"/>
                    </a:lnTo>
                    <a:lnTo>
                      <a:pt x="476" y="472"/>
                    </a:lnTo>
                    <a:lnTo>
                      <a:pt x="505" y="472"/>
                    </a:lnTo>
                    <a:lnTo>
                      <a:pt x="533" y="460"/>
                    </a:lnTo>
                    <a:lnTo>
                      <a:pt x="565" y="456"/>
                    </a:lnTo>
                    <a:lnTo>
                      <a:pt x="585" y="447"/>
                    </a:lnTo>
                    <a:lnTo>
                      <a:pt x="601" y="439"/>
                    </a:lnTo>
                    <a:lnTo>
                      <a:pt x="622" y="419"/>
                    </a:lnTo>
                    <a:lnTo>
                      <a:pt x="638" y="407"/>
                    </a:lnTo>
                    <a:lnTo>
                      <a:pt x="638" y="399"/>
                    </a:lnTo>
                    <a:lnTo>
                      <a:pt x="638" y="387"/>
                    </a:lnTo>
                    <a:lnTo>
                      <a:pt x="650" y="387"/>
                    </a:lnTo>
                    <a:lnTo>
                      <a:pt x="654" y="383"/>
                    </a:lnTo>
                    <a:lnTo>
                      <a:pt x="666" y="383"/>
                    </a:lnTo>
                    <a:lnTo>
                      <a:pt x="674" y="383"/>
                    </a:lnTo>
                    <a:lnTo>
                      <a:pt x="686" y="391"/>
                    </a:lnTo>
                    <a:lnTo>
                      <a:pt x="702" y="403"/>
                    </a:lnTo>
                    <a:lnTo>
                      <a:pt x="718" y="403"/>
                    </a:lnTo>
                    <a:lnTo>
                      <a:pt x="726" y="403"/>
                    </a:lnTo>
                    <a:lnTo>
                      <a:pt x="735" y="403"/>
                    </a:lnTo>
                    <a:lnTo>
                      <a:pt x="739" y="403"/>
                    </a:lnTo>
                    <a:lnTo>
                      <a:pt x="747" y="391"/>
                    </a:lnTo>
                    <a:lnTo>
                      <a:pt x="755" y="375"/>
                    </a:lnTo>
                    <a:lnTo>
                      <a:pt x="759" y="367"/>
                    </a:lnTo>
                    <a:lnTo>
                      <a:pt x="767" y="359"/>
                    </a:lnTo>
                    <a:lnTo>
                      <a:pt x="775" y="351"/>
                    </a:lnTo>
                    <a:lnTo>
                      <a:pt x="779" y="339"/>
                    </a:lnTo>
                    <a:lnTo>
                      <a:pt x="787" y="334"/>
                    </a:lnTo>
                    <a:lnTo>
                      <a:pt x="795" y="322"/>
                    </a:lnTo>
                    <a:lnTo>
                      <a:pt x="803" y="314"/>
                    </a:lnTo>
                    <a:lnTo>
                      <a:pt x="803" y="302"/>
                    </a:lnTo>
                    <a:lnTo>
                      <a:pt x="807" y="298"/>
                    </a:lnTo>
                    <a:lnTo>
                      <a:pt x="815" y="290"/>
                    </a:lnTo>
                    <a:lnTo>
                      <a:pt x="815" y="278"/>
                    </a:lnTo>
                    <a:lnTo>
                      <a:pt x="815" y="262"/>
                    </a:lnTo>
                    <a:lnTo>
                      <a:pt x="787" y="246"/>
                    </a:lnTo>
                    <a:lnTo>
                      <a:pt x="735" y="213"/>
                    </a:lnTo>
                    <a:lnTo>
                      <a:pt x="726" y="205"/>
                    </a:lnTo>
                    <a:lnTo>
                      <a:pt x="718" y="197"/>
                    </a:lnTo>
                    <a:lnTo>
                      <a:pt x="690" y="185"/>
                    </a:lnTo>
                    <a:lnTo>
                      <a:pt x="654" y="157"/>
                    </a:lnTo>
                    <a:lnTo>
                      <a:pt x="650" y="153"/>
                    </a:lnTo>
                    <a:lnTo>
                      <a:pt x="646" y="145"/>
                    </a:lnTo>
                    <a:lnTo>
                      <a:pt x="634" y="141"/>
                    </a:lnTo>
                    <a:lnTo>
                      <a:pt x="622" y="133"/>
                    </a:lnTo>
                    <a:lnTo>
                      <a:pt x="622" y="121"/>
                    </a:lnTo>
                    <a:lnTo>
                      <a:pt x="618" y="113"/>
                    </a:lnTo>
                    <a:lnTo>
                      <a:pt x="622" y="113"/>
                    </a:lnTo>
                    <a:lnTo>
                      <a:pt x="622" y="109"/>
                    </a:lnTo>
                    <a:lnTo>
                      <a:pt x="622" y="96"/>
                    </a:lnTo>
                    <a:lnTo>
                      <a:pt x="622" y="80"/>
                    </a:lnTo>
                    <a:lnTo>
                      <a:pt x="618" y="68"/>
                    </a:lnTo>
                    <a:lnTo>
                      <a:pt x="609" y="60"/>
                    </a:lnTo>
                    <a:lnTo>
                      <a:pt x="581" y="60"/>
                    </a:lnTo>
                    <a:lnTo>
                      <a:pt x="549" y="60"/>
                    </a:lnTo>
                    <a:lnTo>
                      <a:pt x="541" y="48"/>
                    </a:lnTo>
                    <a:lnTo>
                      <a:pt x="533" y="44"/>
                    </a:lnTo>
                    <a:lnTo>
                      <a:pt x="533" y="36"/>
                    </a:lnTo>
                    <a:lnTo>
                      <a:pt x="533" y="32"/>
                    </a:lnTo>
                    <a:lnTo>
                      <a:pt x="541" y="20"/>
                    </a:lnTo>
                    <a:lnTo>
                      <a:pt x="549" y="0"/>
                    </a:lnTo>
                    <a:lnTo>
                      <a:pt x="597" y="8"/>
                    </a:lnTo>
                    <a:lnTo>
                      <a:pt x="638" y="8"/>
                    </a:lnTo>
                    <a:lnTo>
                      <a:pt x="702" y="8"/>
                    </a:lnTo>
                    <a:lnTo>
                      <a:pt x="767" y="20"/>
                    </a:lnTo>
                    <a:lnTo>
                      <a:pt x="775" y="24"/>
                    </a:lnTo>
                    <a:lnTo>
                      <a:pt x="783" y="28"/>
                    </a:lnTo>
                    <a:lnTo>
                      <a:pt x="787" y="36"/>
                    </a:lnTo>
                    <a:lnTo>
                      <a:pt x="795" y="44"/>
                    </a:lnTo>
                    <a:lnTo>
                      <a:pt x="835" y="44"/>
                    </a:lnTo>
                    <a:lnTo>
                      <a:pt x="872" y="44"/>
                    </a:lnTo>
                    <a:lnTo>
                      <a:pt x="884" y="36"/>
                    </a:lnTo>
                    <a:lnTo>
                      <a:pt x="900" y="24"/>
                    </a:lnTo>
                    <a:lnTo>
                      <a:pt x="936" y="24"/>
                    </a:lnTo>
                    <a:lnTo>
                      <a:pt x="977" y="24"/>
                    </a:lnTo>
                    <a:lnTo>
                      <a:pt x="1017" y="24"/>
                    </a:lnTo>
                    <a:lnTo>
                      <a:pt x="1057" y="24"/>
                    </a:lnTo>
                    <a:lnTo>
                      <a:pt x="1061" y="24"/>
                    </a:lnTo>
                    <a:lnTo>
                      <a:pt x="1061" y="28"/>
                    </a:lnTo>
                    <a:lnTo>
                      <a:pt x="1077" y="28"/>
                    </a:lnTo>
                    <a:lnTo>
                      <a:pt x="1094" y="28"/>
                    </a:lnTo>
                    <a:lnTo>
                      <a:pt x="1106" y="44"/>
                    </a:lnTo>
                    <a:lnTo>
                      <a:pt x="1118" y="56"/>
                    </a:lnTo>
                    <a:lnTo>
                      <a:pt x="1122" y="56"/>
                    </a:lnTo>
                    <a:lnTo>
                      <a:pt x="1126" y="56"/>
                    </a:lnTo>
                    <a:lnTo>
                      <a:pt x="1130" y="80"/>
                    </a:lnTo>
                    <a:lnTo>
                      <a:pt x="1130" y="100"/>
                    </a:lnTo>
                    <a:lnTo>
                      <a:pt x="1122" y="109"/>
                    </a:lnTo>
                    <a:lnTo>
                      <a:pt x="1114" y="121"/>
                    </a:lnTo>
                    <a:lnTo>
                      <a:pt x="1114" y="181"/>
                    </a:lnTo>
                    <a:lnTo>
                      <a:pt x="1106" y="226"/>
                    </a:lnTo>
                    <a:lnTo>
                      <a:pt x="1106" y="238"/>
                    </a:lnTo>
                    <a:lnTo>
                      <a:pt x="1106" y="246"/>
                    </a:lnTo>
                    <a:lnTo>
                      <a:pt x="1106" y="250"/>
                    </a:lnTo>
                    <a:lnTo>
                      <a:pt x="1102" y="254"/>
                    </a:lnTo>
                    <a:lnTo>
                      <a:pt x="1061" y="262"/>
                    </a:lnTo>
                    <a:lnTo>
                      <a:pt x="989" y="274"/>
                    </a:lnTo>
                    <a:lnTo>
                      <a:pt x="985" y="278"/>
                    </a:lnTo>
                    <a:lnTo>
                      <a:pt x="977" y="282"/>
                    </a:lnTo>
                    <a:lnTo>
                      <a:pt x="960" y="367"/>
                    </a:lnTo>
                    <a:lnTo>
                      <a:pt x="956" y="419"/>
                    </a:lnTo>
                    <a:lnTo>
                      <a:pt x="964" y="423"/>
                    </a:lnTo>
                    <a:lnTo>
                      <a:pt x="973" y="427"/>
                    </a:lnTo>
                    <a:lnTo>
                      <a:pt x="1001" y="431"/>
                    </a:lnTo>
                    <a:lnTo>
                      <a:pt x="1025" y="435"/>
                    </a:lnTo>
                    <a:lnTo>
                      <a:pt x="1029" y="435"/>
                    </a:lnTo>
                    <a:lnTo>
                      <a:pt x="1033" y="439"/>
                    </a:lnTo>
                    <a:lnTo>
                      <a:pt x="1057" y="443"/>
                    </a:lnTo>
                    <a:lnTo>
                      <a:pt x="1077" y="451"/>
                    </a:lnTo>
                    <a:lnTo>
                      <a:pt x="1086" y="456"/>
                    </a:lnTo>
                    <a:lnTo>
                      <a:pt x="1090" y="460"/>
                    </a:lnTo>
                    <a:lnTo>
                      <a:pt x="1114" y="464"/>
                    </a:lnTo>
                    <a:lnTo>
                      <a:pt x="1138" y="464"/>
                    </a:lnTo>
                    <a:lnTo>
                      <a:pt x="1138" y="472"/>
                    </a:lnTo>
                    <a:lnTo>
                      <a:pt x="1142" y="476"/>
                    </a:lnTo>
                    <a:lnTo>
                      <a:pt x="1142" y="484"/>
                    </a:lnTo>
                    <a:lnTo>
                      <a:pt x="1142" y="492"/>
                    </a:lnTo>
                    <a:lnTo>
                      <a:pt x="1138" y="496"/>
                    </a:lnTo>
                    <a:lnTo>
                      <a:pt x="1130" y="504"/>
                    </a:lnTo>
                    <a:lnTo>
                      <a:pt x="1122" y="508"/>
                    </a:lnTo>
                    <a:lnTo>
                      <a:pt x="1114" y="520"/>
                    </a:lnTo>
                    <a:lnTo>
                      <a:pt x="1106" y="532"/>
                    </a:lnTo>
                    <a:lnTo>
                      <a:pt x="1106" y="552"/>
                    </a:lnTo>
                    <a:lnTo>
                      <a:pt x="1114" y="556"/>
                    </a:lnTo>
                    <a:lnTo>
                      <a:pt x="1114" y="564"/>
                    </a:lnTo>
                    <a:lnTo>
                      <a:pt x="1114" y="589"/>
                    </a:lnTo>
                    <a:lnTo>
                      <a:pt x="1114" y="613"/>
                    </a:lnTo>
                    <a:lnTo>
                      <a:pt x="1122" y="621"/>
                    </a:lnTo>
                    <a:lnTo>
                      <a:pt x="1130" y="629"/>
                    </a:lnTo>
                    <a:lnTo>
                      <a:pt x="1150" y="653"/>
                    </a:lnTo>
                    <a:lnTo>
                      <a:pt x="1158" y="661"/>
                    </a:lnTo>
                    <a:lnTo>
                      <a:pt x="1166" y="669"/>
                    </a:lnTo>
                    <a:lnTo>
                      <a:pt x="1166" y="677"/>
                    </a:lnTo>
                    <a:lnTo>
                      <a:pt x="1170" y="677"/>
                    </a:lnTo>
                    <a:lnTo>
                      <a:pt x="1174" y="685"/>
                    </a:lnTo>
                    <a:lnTo>
                      <a:pt x="1174" y="690"/>
                    </a:lnTo>
                    <a:lnTo>
                      <a:pt x="1178" y="698"/>
                    </a:lnTo>
                    <a:lnTo>
                      <a:pt x="1182" y="702"/>
                    </a:lnTo>
                    <a:lnTo>
                      <a:pt x="1186" y="702"/>
                    </a:lnTo>
                    <a:lnTo>
                      <a:pt x="1186" y="710"/>
                    </a:lnTo>
                    <a:lnTo>
                      <a:pt x="1186" y="718"/>
                    </a:lnTo>
                    <a:lnTo>
                      <a:pt x="1198" y="730"/>
                    </a:lnTo>
                    <a:lnTo>
                      <a:pt x="1203" y="742"/>
                    </a:lnTo>
                    <a:lnTo>
                      <a:pt x="1203" y="750"/>
                    </a:lnTo>
                    <a:lnTo>
                      <a:pt x="1203" y="758"/>
                    </a:lnTo>
                    <a:lnTo>
                      <a:pt x="1198" y="762"/>
                    </a:lnTo>
                    <a:lnTo>
                      <a:pt x="1194" y="770"/>
                    </a:lnTo>
                    <a:lnTo>
                      <a:pt x="1194" y="794"/>
                    </a:lnTo>
                    <a:lnTo>
                      <a:pt x="1186" y="819"/>
                    </a:lnTo>
                    <a:lnTo>
                      <a:pt x="1178" y="827"/>
                    </a:lnTo>
                    <a:lnTo>
                      <a:pt x="1158" y="831"/>
                    </a:lnTo>
                    <a:lnTo>
                      <a:pt x="1138" y="835"/>
                    </a:lnTo>
                    <a:lnTo>
                      <a:pt x="1118" y="835"/>
                    </a:lnTo>
                    <a:lnTo>
                      <a:pt x="1114" y="839"/>
                    </a:lnTo>
                    <a:lnTo>
                      <a:pt x="1106" y="843"/>
                    </a:lnTo>
                    <a:lnTo>
                      <a:pt x="1106" y="867"/>
                    </a:lnTo>
                    <a:lnTo>
                      <a:pt x="1102" y="883"/>
                    </a:lnTo>
                    <a:lnTo>
                      <a:pt x="1094" y="887"/>
                    </a:lnTo>
                    <a:lnTo>
                      <a:pt x="1094" y="895"/>
                    </a:lnTo>
                    <a:lnTo>
                      <a:pt x="1077" y="903"/>
                    </a:lnTo>
                    <a:lnTo>
                      <a:pt x="1069" y="911"/>
                    </a:lnTo>
                    <a:lnTo>
                      <a:pt x="1049" y="915"/>
                    </a:lnTo>
                    <a:lnTo>
                      <a:pt x="997" y="932"/>
                    </a:lnTo>
                    <a:lnTo>
                      <a:pt x="985" y="932"/>
                    </a:lnTo>
                    <a:lnTo>
                      <a:pt x="981" y="932"/>
                    </a:lnTo>
                    <a:lnTo>
                      <a:pt x="981" y="936"/>
                    </a:lnTo>
                    <a:lnTo>
                      <a:pt x="985" y="944"/>
                    </a:lnTo>
                    <a:lnTo>
                      <a:pt x="973" y="960"/>
                    </a:lnTo>
                    <a:lnTo>
                      <a:pt x="964" y="972"/>
                    </a:lnTo>
                    <a:lnTo>
                      <a:pt x="956" y="984"/>
                    </a:lnTo>
                    <a:lnTo>
                      <a:pt x="948" y="992"/>
                    </a:lnTo>
                    <a:lnTo>
                      <a:pt x="932" y="992"/>
                    </a:lnTo>
                    <a:lnTo>
                      <a:pt x="920" y="996"/>
                    </a:lnTo>
                    <a:lnTo>
                      <a:pt x="912" y="992"/>
                    </a:lnTo>
                    <a:lnTo>
                      <a:pt x="912" y="988"/>
                    </a:lnTo>
                    <a:lnTo>
                      <a:pt x="896" y="984"/>
                    </a:lnTo>
                    <a:lnTo>
                      <a:pt x="884" y="980"/>
                    </a:lnTo>
                    <a:lnTo>
                      <a:pt x="884" y="968"/>
                    </a:lnTo>
                    <a:lnTo>
                      <a:pt x="880" y="960"/>
                    </a:lnTo>
                    <a:lnTo>
                      <a:pt x="868" y="960"/>
                    </a:lnTo>
                    <a:lnTo>
                      <a:pt x="848" y="960"/>
                    </a:lnTo>
                    <a:lnTo>
                      <a:pt x="843" y="960"/>
                    </a:lnTo>
                    <a:lnTo>
                      <a:pt x="839" y="968"/>
                    </a:lnTo>
                    <a:lnTo>
                      <a:pt x="835" y="980"/>
                    </a:lnTo>
                    <a:lnTo>
                      <a:pt x="831" y="984"/>
                    </a:lnTo>
                    <a:lnTo>
                      <a:pt x="827" y="988"/>
                    </a:lnTo>
                    <a:lnTo>
                      <a:pt x="827" y="996"/>
                    </a:lnTo>
                    <a:lnTo>
                      <a:pt x="827" y="1012"/>
                    </a:lnTo>
                    <a:lnTo>
                      <a:pt x="815" y="1020"/>
                    </a:lnTo>
                    <a:lnTo>
                      <a:pt x="803" y="1032"/>
                    </a:lnTo>
                    <a:lnTo>
                      <a:pt x="791" y="1032"/>
                    </a:lnTo>
                    <a:lnTo>
                      <a:pt x="783" y="103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40" name="Freeform 48"/>
              <p:cNvSpPr>
                <a:spLocks/>
              </p:cNvSpPr>
              <p:nvPr/>
            </p:nvSpPr>
            <p:spPr bwMode="auto">
              <a:xfrm>
                <a:off x="4546687" y="2352739"/>
                <a:ext cx="1028700" cy="1232257"/>
              </a:xfrm>
              <a:custGeom>
                <a:avLst/>
                <a:gdLst>
                  <a:gd name="T0" fmla="*/ 734857052 w 1146"/>
                  <a:gd name="T1" fmla="*/ 1017566884 h 1384"/>
                  <a:gd name="T2" fmla="*/ 669590284 w 1146"/>
                  <a:gd name="T3" fmla="*/ 971970092 h 1384"/>
                  <a:gd name="T4" fmla="*/ 592236745 w 1146"/>
                  <a:gd name="T5" fmla="*/ 962850734 h 1384"/>
                  <a:gd name="T6" fmla="*/ 536639393 w 1146"/>
                  <a:gd name="T7" fmla="*/ 984129237 h 1384"/>
                  <a:gd name="T8" fmla="*/ 468149075 w 1146"/>
                  <a:gd name="T9" fmla="*/ 1020606670 h 1384"/>
                  <a:gd name="T10" fmla="*/ 406910931 w 1146"/>
                  <a:gd name="T11" fmla="*/ 1029726029 h 1384"/>
                  <a:gd name="T12" fmla="*/ 319082789 w 1146"/>
                  <a:gd name="T13" fmla="*/ 1008447526 h 1384"/>
                  <a:gd name="T14" fmla="*/ 260261999 w 1146"/>
                  <a:gd name="T15" fmla="*/ 987169023 h 1384"/>
                  <a:gd name="T16" fmla="*/ 169210362 w 1146"/>
                  <a:gd name="T17" fmla="*/ 971970092 h 1384"/>
                  <a:gd name="T18" fmla="*/ 172433800 w 1146"/>
                  <a:gd name="T19" fmla="*/ 904335287 h 1384"/>
                  <a:gd name="T20" fmla="*/ 165987822 w 1146"/>
                  <a:gd name="T21" fmla="*/ 861018116 h 1384"/>
                  <a:gd name="T22" fmla="*/ 159540945 w 1146"/>
                  <a:gd name="T23" fmla="*/ 836699827 h 1384"/>
                  <a:gd name="T24" fmla="*/ 172433800 w 1146"/>
                  <a:gd name="T25" fmla="*/ 778184598 h 1384"/>
                  <a:gd name="T26" fmla="*/ 159540945 w 1146"/>
                  <a:gd name="T27" fmla="*/ 750825651 h 1384"/>
                  <a:gd name="T28" fmla="*/ 156318405 w 1146"/>
                  <a:gd name="T29" fmla="*/ 667992132 h 1384"/>
                  <a:gd name="T30" fmla="*/ 117641607 w 1146"/>
                  <a:gd name="T31" fmla="*/ 643673843 h 1384"/>
                  <a:gd name="T32" fmla="*/ 103943566 w 1146"/>
                  <a:gd name="T33" fmla="*/ 594277100 h 1384"/>
                  <a:gd name="T34" fmla="*/ 58820804 w 1146"/>
                  <a:gd name="T35" fmla="*/ 557799667 h 1384"/>
                  <a:gd name="T36" fmla="*/ 26590006 w 1146"/>
                  <a:gd name="T37" fmla="*/ 515243533 h 1384"/>
                  <a:gd name="T38" fmla="*/ 6445980 w 1146"/>
                  <a:gd name="T39" fmla="*/ 484085507 h 1384"/>
                  <a:gd name="T40" fmla="*/ 0 w 1146"/>
                  <a:gd name="T41" fmla="*/ 465846790 h 1384"/>
                  <a:gd name="T42" fmla="*/ 45928846 w 1146"/>
                  <a:gd name="T43" fmla="*/ 432409033 h 1384"/>
                  <a:gd name="T44" fmla="*/ 68490234 w 1146"/>
                  <a:gd name="T45" fmla="*/ 407330580 h 1384"/>
                  <a:gd name="T46" fmla="*/ 114418169 w 1146"/>
                  <a:gd name="T47" fmla="*/ 373892932 h 1384"/>
                  <a:gd name="T48" fmla="*/ 156318405 w 1146"/>
                  <a:gd name="T49" fmla="*/ 361733788 h 1384"/>
                  <a:gd name="T50" fmla="*/ 165987822 w 1146"/>
                  <a:gd name="T51" fmla="*/ 266741125 h 1384"/>
                  <a:gd name="T52" fmla="*/ 208693216 w 1146"/>
                  <a:gd name="T53" fmla="*/ 266741125 h 1384"/>
                  <a:gd name="T54" fmla="*/ 234477131 w 1146"/>
                  <a:gd name="T55" fmla="*/ 272820697 h 1384"/>
                  <a:gd name="T56" fmla="*/ 279599935 w 1146"/>
                  <a:gd name="T57" fmla="*/ 251542194 h 1384"/>
                  <a:gd name="T58" fmla="*/ 319082789 w 1146"/>
                  <a:gd name="T59" fmla="*/ 223423900 h 1384"/>
                  <a:gd name="T60" fmla="*/ 325528767 w 1146"/>
                  <a:gd name="T61" fmla="*/ 180866894 h 1384"/>
                  <a:gd name="T62" fmla="*/ 312636810 w 1146"/>
                  <a:gd name="T63" fmla="*/ 165667963 h 1384"/>
                  <a:gd name="T64" fmla="*/ 319082789 w 1146"/>
                  <a:gd name="T65" fmla="*/ 110192493 h 1384"/>
                  <a:gd name="T66" fmla="*/ 364205537 w 1146"/>
                  <a:gd name="T67" fmla="*/ 107152707 h 1384"/>
                  <a:gd name="T68" fmla="*/ 393212890 w 1146"/>
                  <a:gd name="T69" fmla="*/ 140589510 h 1384"/>
                  <a:gd name="T70" fmla="*/ 413356910 w 1146"/>
                  <a:gd name="T71" fmla="*/ 159588391 h 1384"/>
                  <a:gd name="T72" fmla="*/ 445587701 w 1146"/>
                  <a:gd name="T73" fmla="*/ 152748654 h 1384"/>
                  <a:gd name="T74" fmla="*/ 494739186 w 1146"/>
                  <a:gd name="T75" fmla="*/ 131471023 h 1384"/>
                  <a:gd name="T76" fmla="*/ 523747436 w 1146"/>
                  <a:gd name="T77" fmla="*/ 82834417 h 1384"/>
                  <a:gd name="T78" fmla="*/ 546308810 w 1146"/>
                  <a:gd name="T79" fmla="*/ 36477447 h 1384"/>
                  <a:gd name="T80" fmla="*/ 598682724 w 1146"/>
                  <a:gd name="T81" fmla="*/ 9119362 h 1384"/>
                  <a:gd name="T82" fmla="*/ 614798119 w 1146"/>
                  <a:gd name="T83" fmla="*/ 0 h 1384"/>
                  <a:gd name="T84" fmla="*/ 686511764 w 1146"/>
                  <a:gd name="T85" fmla="*/ 15198938 h 1384"/>
                  <a:gd name="T86" fmla="*/ 705849700 w 1146"/>
                  <a:gd name="T87" fmla="*/ 39517233 h 1384"/>
                  <a:gd name="T88" fmla="*/ 731634512 w 1146"/>
                  <a:gd name="T89" fmla="*/ 54716164 h 1384"/>
                  <a:gd name="T90" fmla="*/ 777562447 w 1146"/>
                  <a:gd name="T91" fmla="*/ 73715059 h 1384"/>
                  <a:gd name="T92" fmla="*/ 806569799 w 1146"/>
                  <a:gd name="T93" fmla="*/ 88913990 h 1384"/>
                  <a:gd name="T94" fmla="*/ 809793237 w 1146"/>
                  <a:gd name="T95" fmla="*/ 159588391 h 1384"/>
                  <a:gd name="T96" fmla="*/ 838800590 w 1146"/>
                  <a:gd name="T97" fmla="*/ 223423900 h 1384"/>
                  <a:gd name="T98" fmla="*/ 884729423 w 1146"/>
                  <a:gd name="T99" fmla="*/ 303218558 h 1384"/>
                  <a:gd name="T100" fmla="*/ 910514235 w 1146"/>
                  <a:gd name="T101" fmla="*/ 432409033 h 1384"/>
                  <a:gd name="T102" fmla="*/ 920182754 w 1146"/>
                  <a:gd name="T103" fmla="*/ 496244651 h 1384"/>
                  <a:gd name="T104" fmla="*/ 900844818 w 1146"/>
                  <a:gd name="T105" fmla="*/ 536521164 h 1384"/>
                  <a:gd name="T106" fmla="*/ 881506882 w 1146"/>
                  <a:gd name="T107" fmla="*/ 649753415 h 1384"/>
                  <a:gd name="T108" fmla="*/ 887952861 w 1146"/>
                  <a:gd name="T109" fmla="*/ 750825651 h 1384"/>
                  <a:gd name="T110" fmla="*/ 910514235 w 1146"/>
                  <a:gd name="T111" fmla="*/ 818461110 h 1384"/>
                  <a:gd name="T112" fmla="*/ 923406192 w 1146"/>
                  <a:gd name="T113" fmla="*/ 864057902 h 1384"/>
                  <a:gd name="T114" fmla="*/ 913736775 w 1146"/>
                  <a:gd name="T115" fmla="*/ 919534435 h 1384"/>
                  <a:gd name="T116" fmla="*/ 884729423 w 1146"/>
                  <a:gd name="T117" fmla="*/ 1011487312 h 1384"/>
                  <a:gd name="T118" fmla="*/ 816239216 w 1146"/>
                  <a:gd name="T119" fmla="*/ 1051764696 h 138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146"/>
                  <a:gd name="T181" fmla="*/ 0 h 1384"/>
                  <a:gd name="T182" fmla="*/ 1146 w 1146"/>
                  <a:gd name="T183" fmla="*/ 1384 h 138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146" h="1384">
                    <a:moveTo>
                      <a:pt x="977" y="1384"/>
                    </a:moveTo>
                    <a:lnTo>
                      <a:pt x="948" y="1367"/>
                    </a:lnTo>
                    <a:lnTo>
                      <a:pt x="920" y="1351"/>
                    </a:lnTo>
                    <a:lnTo>
                      <a:pt x="912" y="1339"/>
                    </a:lnTo>
                    <a:lnTo>
                      <a:pt x="904" y="1331"/>
                    </a:lnTo>
                    <a:lnTo>
                      <a:pt x="888" y="1307"/>
                    </a:lnTo>
                    <a:lnTo>
                      <a:pt x="860" y="1291"/>
                    </a:lnTo>
                    <a:lnTo>
                      <a:pt x="831" y="1279"/>
                    </a:lnTo>
                    <a:lnTo>
                      <a:pt x="791" y="1258"/>
                    </a:lnTo>
                    <a:lnTo>
                      <a:pt x="779" y="1258"/>
                    </a:lnTo>
                    <a:lnTo>
                      <a:pt x="767" y="1258"/>
                    </a:lnTo>
                    <a:lnTo>
                      <a:pt x="735" y="1267"/>
                    </a:lnTo>
                    <a:lnTo>
                      <a:pt x="710" y="1279"/>
                    </a:lnTo>
                    <a:lnTo>
                      <a:pt x="702" y="1283"/>
                    </a:lnTo>
                    <a:lnTo>
                      <a:pt x="682" y="1291"/>
                    </a:lnTo>
                    <a:lnTo>
                      <a:pt x="666" y="1295"/>
                    </a:lnTo>
                    <a:lnTo>
                      <a:pt x="650" y="1299"/>
                    </a:lnTo>
                    <a:lnTo>
                      <a:pt x="630" y="1319"/>
                    </a:lnTo>
                    <a:lnTo>
                      <a:pt x="610" y="1343"/>
                    </a:lnTo>
                    <a:lnTo>
                      <a:pt x="581" y="1343"/>
                    </a:lnTo>
                    <a:lnTo>
                      <a:pt x="553" y="1347"/>
                    </a:lnTo>
                    <a:lnTo>
                      <a:pt x="541" y="1351"/>
                    </a:lnTo>
                    <a:lnTo>
                      <a:pt x="529" y="1355"/>
                    </a:lnTo>
                    <a:lnTo>
                      <a:pt x="505" y="1355"/>
                    </a:lnTo>
                    <a:lnTo>
                      <a:pt x="444" y="1347"/>
                    </a:lnTo>
                    <a:lnTo>
                      <a:pt x="436" y="1347"/>
                    </a:lnTo>
                    <a:lnTo>
                      <a:pt x="420" y="1343"/>
                    </a:lnTo>
                    <a:lnTo>
                      <a:pt x="396" y="1327"/>
                    </a:lnTo>
                    <a:lnTo>
                      <a:pt x="371" y="1311"/>
                    </a:lnTo>
                    <a:lnTo>
                      <a:pt x="355" y="1307"/>
                    </a:lnTo>
                    <a:lnTo>
                      <a:pt x="331" y="1303"/>
                    </a:lnTo>
                    <a:lnTo>
                      <a:pt x="323" y="1299"/>
                    </a:lnTo>
                    <a:lnTo>
                      <a:pt x="319" y="1295"/>
                    </a:lnTo>
                    <a:lnTo>
                      <a:pt x="303" y="1291"/>
                    </a:lnTo>
                    <a:lnTo>
                      <a:pt x="210" y="1283"/>
                    </a:lnTo>
                    <a:lnTo>
                      <a:pt x="210" y="1279"/>
                    </a:lnTo>
                    <a:lnTo>
                      <a:pt x="210" y="1267"/>
                    </a:lnTo>
                    <a:lnTo>
                      <a:pt x="214" y="1263"/>
                    </a:lnTo>
                    <a:lnTo>
                      <a:pt x="214" y="1226"/>
                    </a:lnTo>
                    <a:lnTo>
                      <a:pt x="214" y="1190"/>
                    </a:lnTo>
                    <a:lnTo>
                      <a:pt x="210" y="1182"/>
                    </a:lnTo>
                    <a:lnTo>
                      <a:pt x="210" y="1170"/>
                    </a:lnTo>
                    <a:lnTo>
                      <a:pt x="206" y="1150"/>
                    </a:lnTo>
                    <a:lnTo>
                      <a:pt x="206" y="1133"/>
                    </a:lnTo>
                    <a:lnTo>
                      <a:pt x="202" y="1125"/>
                    </a:lnTo>
                    <a:lnTo>
                      <a:pt x="198" y="1117"/>
                    </a:lnTo>
                    <a:lnTo>
                      <a:pt x="198" y="1109"/>
                    </a:lnTo>
                    <a:lnTo>
                      <a:pt x="198" y="1101"/>
                    </a:lnTo>
                    <a:lnTo>
                      <a:pt x="206" y="1077"/>
                    </a:lnTo>
                    <a:lnTo>
                      <a:pt x="214" y="1061"/>
                    </a:lnTo>
                    <a:lnTo>
                      <a:pt x="214" y="1041"/>
                    </a:lnTo>
                    <a:lnTo>
                      <a:pt x="214" y="1024"/>
                    </a:lnTo>
                    <a:lnTo>
                      <a:pt x="210" y="1012"/>
                    </a:lnTo>
                    <a:lnTo>
                      <a:pt x="210" y="1004"/>
                    </a:lnTo>
                    <a:lnTo>
                      <a:pt x="202" y="992"/>
                    </a:lnTo>
                    <a:lnTo>
                      <a:pt x="198" y="988"/>
                    </a:lnTo>
                    <a:lnTo>
                      <a:pt x="198" y="952"/>
                    </a:lnTo>
                    <a:lnTo>
                      <a:pt x="198" y="916"/>
                    </a:lnTo>
                    <a:lnTo>
                      <a:pt x="194" y="895"/>
                    </a:lnTo>
                    <a:lnTo>
                      <a:pt x="194" y="879"/>
                    </a:lnTo>
                    <a:lnTo>
                      <a:pt x="166" y="875"/>
                    </a:lnTo>
                    <a:lnTo>
                      <a:pt x="142" y="867"/>
                    </a:lnTo>
                    <a:lnTo>
                      <a:pt x="146" y="855"/>
                    </a:lnTo>
                    <a:lnTo>
                      <a:pt x="146" y="847"/>
                    </a:lnTo>
                    <a:lnTo>
                      <a:pt x="146" y="815"/>
                    </a:lnTo>
                    <a:lnTo>
                      <a:pt x="142" y="782"/>
                    </a:lnTo>
                    <a:lnTo>
                      <a:pt x="138" y="782"/>
                    </a:lnTo>
                    <a:lnTo>
                      <a:pt x="129" y="782"/>
                    </a:lnTo>
                    <a:lnTo>
                      <a:pt x="117" y="762"/>
                    </a:lnTo>
                    <a:lnTo>
                      <a:pt x="109" y="746"/>
                    </a:lnTo>
                    <a:lnTo>
                      <a:pt x="93" y="738"/>
                    </a:lnTo>
                    <a:lnTo>
                      <a:pt x="73" y="734"/>
                    </a:lnTo>
                    <a:lnTo>
                      <a:pt x="49" y="710"/>
                    </a:lnTo>
                    <a:lnTo>
                      <a:pt x="37" y="694"/>
                    </a:lnTo>
                    <a:lnTo>
                      <a:pt x="33" y="686"/>
                    </a:lnTo>
                    <a:lnTo>
                      <a:pt x="33" y="678"/>
                    </a:lnTo>
                    <a:lnTo>
                      <a:pt x="21" y="661"/>
                    </a:lnTo>
                    <a:lnTo>
                      <a:pt x="16" y="649"/>
                    </a:lnTo>
                    <a:lnTo>
                      <a:pt x="8" y="645"/>
                    </a:lnTo>
                    <a:lnTo>
                      <a:pt x="8" y="637"/>
                    </a:lnTo>
                    <a:lnTo>
                      <a:pt x="4" y="629"/>
                    </a:lnTo>
                    <a:lnTo>
                      <a:pt x="4" y="625"/>
                    </a:lnTo>
                    <a:lnTo>
                      <a:pt x="0" y="617"/>
                    </a:lnTo>
                    <a:lnTo>
                      <a:pt x="0" y="613"/>
                    </a:lnTo>
                    <a:lnTo>
                      <a:pt x="0" y="605"/>
                    </a:lnTo>
                    <a:lnTo>
                      <a:pt x="16" y="593"/>
                    </a:lnTo>
                    <a:lnTo>
                      <a:pt x="37" y="577"/>
                    </a:lnTo>
                    <a:lnTo>
                      <a:pt x="57" y="569"/>
                    </a:lnTo>
                    <a:lnTo>
                      <a:pt x="73" y="565"/>
                    </a:lnTo>
                    <a:lnTo>
                      <a:pt x="73" y="561"/>
                    </a:lnTo>
                    <a:lnTo>
                      <a:pt x="81" y="556"/>
                    </a:lnTo>
                    <a:lnTo>
                      <a:pt x="85" y="536"/>
                    </a:lnTo>
                    <a:lnTo>
                      <a:pt x="85" y="516"/>
                    </a:lnTo>
                    <a:lnTo>
                      <a:pt x="97" y="504"/>
                    </a:lnTo>
                    <a:lnTo>
                      <a:pt x="117" y="492"/>
                    </a:lnTo>
                    <a:lnTo>
                      <a:pt x="142" y="492"/>
                    </a:lnTo>
                    <a:lnTo>
                      <a:pt x="166" y="492"/>
                    </a:lnTo>
                    <a:lnTo>
                      <a:pt x="178" y="488"/>
                    </a:lnTo>
                    <a:lnTo>
                      <a:pt x="194" y="480"/>
                    </a:lnTo>
                    <a:lnTo>
                      <a:pt x="194" y="476"/>
                    </a:lnTo>
                    <a:lnTo>
                      <a:pt x="198" y="468"/>
                    </a:lnTo>
                    <a:lnTo>
                      <a:pt x="198" y="411"/>
                    </a:lnTo>
                    <a:lnTo>
                      <a:pt x="202" y="355"/>
                    </a:lnTo>
                    <a:lnTo>
                      <a:pt x="206" y="351"/>
                    </a:lnTo>
                    <a:lnTo>
                      <a:pt x="210" y="347"/>
                    </a:lnTo>
                    <a:lnTo>
                      <a:pt x="230" y="347"/>
                    </a:lnTo>
                    <a:lnTo>
                      <a:pt x="255" y="347"/>
                    </a:lnTo>
                    <a:lnTo>
                      <a:pt x="259" y="351"/>
                    </a:lnTo>
                    <a:lnTo>
                      <a:pt x="263" y="351"/>
                    </a:lnTo>
                    <a:lnTo>
                      <a:pt x="267" y="355"/>
                    </a:lnTo>
                    <a:lnTo>
                      <a:pt x="275" y="359"/>
                    </a:lnTo>
                    <a:lnTo>
                      <a:pt x="291" y="359"/>
                    </a:lnTo>
                    <a:lnTo>
                      <a:pt x="311" y="359"/>
                    </a:lnTo>
                    <a:lnTo>
                      <a:pt x="319" y="351"/>
                    </a:lnTo>
                    <a:lnTo>
                      <a:pt x="335" y="347"/>
                    </a:lnTo>
                    <a:lnTo>
                      <a:pt x="347" y="331"/>
                    </a:lnTo>
                    <a:lnTo>
                      <a:pt x="367" y="314"/>
                    </a:lnTo>
                    <a:lnTo>
                      <a:pt x="371" y="310"/>
                    </a:lnTo>
                    <a:lnTo>
                      <a:pt x="380" y="310"/>
                    </a:lnTo>
                    <a:lnTo>
                      <a:pt x="396" y="294"/>
                    </a:lnTo>
                    <a:lnTo>
                      <a:pt x="416" y="270"/>
                    </a:lnTo>
                    <a:lnTo>
                      <a:pt x="416" y="258"/>
                    </a:lnTo>
                    <a:lnTo>
                      <a:pt x="408" y="246"/>
                    </a:lnTo>
                    <a:lnTo>
                      <a:pt x="404" y="238"/>
                    </a:lnTo>
                    <a:lnTo>
                      <a:pt x="396" y="234"/>
                    </a:lnTo>
                    <a:lnTo>
                      <a:pt x="396" y="230"/>
                    </a:lnTo>
                    <a:lnTo>
                      <a:pt x="392" y="222"/>
                    </a:lnTo>
                    <a:lnTo>
                      <a:pt x="388" y="218"/>
                    </a:lnTo>
                    <a:lnTo>
                      <a:pt x="384" y="210"/>
                    </a:lnTo>
                    <a:lnTo>
                      <a:pt x="384" y="181"/>
                    </a:lnTo>
                    <a:lnTo>
                      <a:pt x="384" y="149"/>
                    </a:lnTo>
                    <a:lnTo>
                      <a:pt x="396" y="145"/>
                    </a:lnTo>
                    <a:lnTo>
                      <a:pt x="416" y="141"/>
                    </a:lnTo>
                    <a:lnTo>
                      <a:pt x="436" y="141"/>
                    </a:lnTo>
                    <a:lnTo>
                      <a:pt x="448" y="141"/>
                    </a:lnTo>
                    <a:lnTo>
                      <a:pt x="452" y="141"/>
                    </a:lnTo>
                    <a:lnTo>
                      <a:pt x="456" y="145"/>
                    </a:lnTo>
                    <a:lnTo>
                      <a:pt x="472" y="165"/>
                    </a:lnTo>
                    <a:lnTo>
                      <a:pt x="480" y="181"/>
                    </a:lnTo>
                    <a:lnTo>
                      <a:pt x="488" y="185"/>
                    </a:lnTo>
                    <a:lnTo>
                      <a:pt x="501" y="189"/>
                    </a:lnTo>
                    <a:lnTo>
                      <a:pt x="505" y="197"/>
                    </a:lnTo>
                    <a:lnTo>
                      <a:pt x="509" y="201"/>
                    </a:lnTo>
                    <a:lnTo>
                      <a:pt x="513" y="210"/>
                    </a:lnTo>
                    <a:lnTo>
                      <a:pt x="521" y="210"/>
                    </a:lnTo>
                    <a:lnTo>
                      <a:pt x="529" y="210"/>
                    </a:lnTo>
                    <a:lnTo>
                      <a:pt x="537" y="210"/>
                    </a:lnTo>
                    <a:lnTo>
                      <a:pt x="553" y="201"/>
                    </a:lnTo>
                    <a:lnTo>
                      <a:pt x="553" y="197"/>
                    </a:lnTo>
                    <a:lnTo>
                      <a:pt x="577" y="189"/>
                    </a:lnTo>
                    <a:lnTo>
                      <a:pt x="589" y="181"/>
                    </a:lnTo>
                    <a:lnTo>
                      <a:pt x="614" y="173"/>
                    </a:lnTo>
                    <a:lnTo>
                      <a:pt x="638" y="165"/>
                    </a:lnTo>
                    <a:lnTo>
                      <a:pt x="642" y="157"/>
                    </a:lnTo>
                    <a:lnTo>
                      <a:pt x="650" y="149"/>
                    </a:lnTo>
                    <a:lnTo>
                      <a:pt x="650" y="109"/>
                    </a:lnTo>
                    <a:lnTo>
                      <a:pt x="654" y="72"/>
                    </a:lnTo>
                    <a:lnTo>
                      <a:pt x="654" y="64"/>
                    </a:lnTo>
                    <a:lnTo>
                      <a:pt x="662" y="52"/>
                    </a:lnTo>
                    <a:lnTo>
                      <a:pt x="678" y="48"/>
                    </a:lnTo>
                    <a:lnTo>
                      <a:pt x="702" y="44"/>
                    </a:lnTo>
                    <a:lnTo>
                      <a:pt x="735" y="28"/>
                    </a:lnTo>
                    <a:lnTo>
                      <a:pt x="743" y="20"/>
                    </a:lnTo>
                    <a:lnTo>
                      <a:pt x="743" y="12"/>
                    </a:lnTo>
                    <a:lnTo>
                      <a:pt x="747" y="4"/>
                    </a:lnTo>
                    <a:lnTo>
                      <a:pt x="747" y="0"/>
                    </a:lnTo>
                    <a:lnTo>
                      <a:pt x="755" y="0"/>
                    </a:lnTo>
                    <a:lnTo>
                      <a:pt x="763" y="0"/>
                    </a:lnTo>
                    <a:lnTo>
                      <a:pt x="771" y="0"/>
                    </a:lnTo>
                    <a:lnTo>
                      <a:pt x="807" y="4"/>
                    </a:lnTo>
                    <a:lnTo>
                      <a:pt x="835" y="12"/>
                    </a:lnTo>
                    <a:lnTo>
                      <a:pt x="852" y="20"/>
                    </a:lnTo>
                    <a:lnTo>
                      <a:pt x="868" y="28"/>
                    </a:lnTo>
                    <a:lnTo>
                      <a:pt x="872" y="28"/>
                    </a:lnTo>
                    <a:lnTo>
                      <a:pt x="876" y="32"/>
                    </a:lnTo>
                    <a:lnTo>
                      <a:pt x="876" y="52"/>
                    </a:lnTo>
                    <a:lnTo>
                      <a:pt x="884" y="64"/>
                    </a:lnTo>
                    <a:lnTo>
                      <a:pt x="888" y="68"/>
                    </a:lnTo>
                    <a:lnTo>
                      <a:pt x="892" y="72"/>
                    </a:lnTo>
                    <a:lnTo>
                      <a:pt x="908" y="72"/>
                    </a:lnTo>
                    <a:lnTo>
                      <a:pt x="924" y="80"/>
                    </a:lnTo>
                    <a:lnTo>
                      <a:pt x="940" y="88"/>
                    </a:lnTo>
                    <a:lnTo>
                      <a:pt x="952" y="93"/>
                    </a:lnTo>
                    <a:lnTo>
                      <a:pt x="965" y="97"/>
                    </a:lnTo>
                    <a:lnTo>
                      <a:pt x="985" y="97"/>
                    </a:lnTo>
                    <a:lnTo>
                      <a:pt x="989" y="101"/>
                    </a:lnTo>
                    <a:lnTo>
                      <a:pt x="993" y="105"/>
                    </a:lnTo>
                    <a:lnTo>
                      <a:pt x="1001" y="117"/>
                    </a:lnTo>
                    <a:lnTo>
                      <a:pt x="1005" y="133"/>
                    </a:lnTo>
                    <a:lnTo>
                      <a:pt x="1005" y="161"/>
                    </a:lnTo>
                    <a:lnTo>
                      <a:pt x="1001" y="193"/>
                    </a:lnTo>
                    <a:lnTo>
                      <a:pt x="1005" y="210"/>
                    </a:lnTo>
                    <a:lnTo>
                      <a:pt x="1009" y="226"/>
                    </a:lnTo>
                    <a:lnTo>
                      <a:pt x="1009" y="234"/>
                    </a:lnTo>
                    <a:lnTo>
                      <a:pt x="1009" y="246"/>
                    </a:lnTo>
                    <a:lnTo>
                      <a:pt x="1041" y="294"/>
                    </a:lnTo>
                    <a:lnTo>
                      <a:pt x="1053" y="310"/>
                    </a:lnTo>
                    <a:lnTo>
                      <a:pt x="1077" y="314"/>
                    </a:lnTo>
                    <a:lnTo>
                      <a:pt x="1086" y="322"/>
                    </a:lnTo>
                    <a:lnTo>
                      <a:pt x="1098" y="399"/>
                    </a:lnTo>
                    <a:lnTo>
                      <a:pt x="1106" y="439"/>
                    </a:lnTo>
                    <a:lnTo>
                      <a:pt x="1118" y="504"/>
                    </a:lnTo>
                    <a:lnTo>
                      <a:pt x="1122" y="552"/>
                    </a:lnTo>
                    <a:lnTo>
                      <a:pt x="1130" y="569"/>
                    </a:lnTo>
                    <a:lnTo>
                      <a:pt x="1142" y="589"/>
                    </a:lnTo>
                    <a:lnTo>
                      <a:pt x="1142" y="613"/>
                    </a:lnTo>
                    <a:lnTo>
                      <a:pt x="1146" y="645"/>
                    </a:lnTo>
                    <a:lnTo>
                      <a:pt x="1142" y="653"/>
                    </a:lnTo>
                    <a:lnTo>
                      <a:pt x="1142" y="661"/>
                    </a:lnTo>
                    <a:lnTo>
                      <a:pt x="1130" y="669"/>
                    </a:lnTo>
                    <a:lnTo>
                      <a:pt x="1122" y="686"/>
                    </a:lnTo>
                    <a:lnTo>
                      <a:pt x="1118" y="706"/>
                    </a:lnTo>
                    <a:lnTo>
                      <a:pt x="1114" y="710"/>
                    </a:lnTo>
                    <a:lnTo>
                      <a:pt x="1106" y="770"/>
                    </a:lnTo>
                    <a:lnTo>
                      <a:pt x="1102" y="795"/>
                    </a:lnTo>
                    <a:lnTo>
                      <a:pt x="1094" y="855"/>
                    </a:lnTo>
                    <a:lnTo>
                      <a:pt x="1090" y="912"/>
                    </a:lnTo>
                    <a:lnTo>
                      <a:pt x="1094" y="936"/>
                    </a:lnTo>
                    <a:lnTo>
                      <a:pt x="1094" y="964"/>
                    </a:lnTo>
                    <a:lnTo>
                      <a:pt x="1102" y="988"/>
                    </a:lnTo>
                    <a:lnTo>
                      <a:pt x="1114" y="1024"/>
                    </a:lnTo>
                    <a:lnTo>
                      <a:pt x="1122" y="1029"/>
                    </a:lnTo>
                    <a:lnTo>
                      <a:pt x="1126" y="1041"/>
                    </a:lnTo>
                    <a:lnTo>
                      <a:pt x="1130" y="1077"/>
                    </a:lnTo>
                    <a:lnTo>
                      <a:pt x="1130" y="1117"/>
                    </a:lnTo>
                    <a:lnTo>
                      <a:pt x="1142" y="1125"/>
                    </a:lnTo>
                    <a:lnTo>
                      <a:pt x="1146" y="1133"/>
                    </a:lnTo>
                    <a:lnTo>
                      <a:pt x="1146" y="1137"/>
                    </a:lnTo>
                    <a:lnTo>
                      <a:pt x="1146" y="1141"/>
                    </a:lnTo>
                    <a:lnTo>
                      <a:pt x="1142" y="1150"/>
                    </a:lnTo>
                    <a:lnTo>
                      <a:pt x="1134" y="1178"/>
                    </a:lnTo>
                    <a:lnTo>
                      <a:pt x="1134" y="1210"/>
                    </a:lnTo>
                    <a:lnTo>
                      <a:pt x="1126" y="1279"/>
                    </a:lnTo>
                    <a:lnTo>
                      <a:pt x="1122" y="1291"/>
                    </a:lnTo>
                    <a:lnTo>
                      <a:pt x="1118" y="1307"/>
                    </a:lnTo>
                    <a:lnTo>
                      <a:pt x="1098" y="1331"/>
                    </a:lnTo>
                    <a:lnTo>
                      <a:pt x="1086" y="1359"/>
                    </a:lnTo>
                    <a:lnTo>
                      <a:pt x="1065" y="1367"/>
                    </a:lnTo>
                    <a:lnTo>
                      <a:pt x="1045" y="1380"/>
                    </a:lnTo>
                    <a:lnTo>
                      <a:pt x="1013" y="1384"/>
                    </a:lnTo>
                    <a:lnTo>
                      <a:pt x="977" y="138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800" b="1">
                  <a:cs typeface="+mn-cs"/>
                </a:endParaRPr>
              </a:p>
            </p:txBody>
          </p:sp>
          <p:sp>
            <p:nvSpPr>
              <p:cNvPr id="41" name="Freeform 49"/>
              <p:cNvSpPr>
                <a:spLocks/>
              </p:cNvSpPr>
              <p:nvPr/>
            </p:nvSpPr>
            <p:spPr bwMode="auto">
              <a:xfrm>
                <a:off x="6027825" y="2258698"/>
                <a:ext cx="957264" cy="674499"/>
              </a:xfrm>
              <a:custGeom>
                <a:avLst/>
                <a:gdLst>
                  <a:gd name="T0" fmla="*/ 2147483647 w 1065"/>
                  <a:gd name="T1" fmla="*/ 2147483647 h 758"/>
                  <a:gd name="T2" fmla="*/ 2147483647 w 1065"/>
                  <a:gd name="T3" fmla="*/ 2147483647 h 758"/>
                  <a:gd name="T4" fmla="*/ 2147483647 w 1065"/>
                  <a:gd name="T5" fmla="*/ 2147483647 h 758"/>
                  <a:gd name="T6" fmla="*/ 2147483647 w 1065"/>
                  <a:gd name="T7" fmla="*/ 2147483647 h 758"/>
                  <a:gd name="T8" fmla="*/ 2147483647 w 1065"/>
                  <a:gd name="T9" fmla="*/ 2147483647 h 758"/>
                  <a:gd name="T10" fmla="*/ 2147483647 w 1065"/>
                  <a:gd name="T11" fmla="*/ 2147483647 h 758"/>
                  <a:gd name="T12" fmla="*/ 2147483647 w 1065"/>
                  <a:gd name="T13" fmla="*/ 2147483647 h 758"/>
                  <a:gd name="T14" fmla="*/ 2147483647 w 1065"/>
                  <a:gd name="T15" fmla="*/ 2147483647 h 758"/>
                  <a:gd name="T16" fmla="*/ 2147483647 w 1065"/>
                  <a:gd name="T17" fmla="*/ 2147483647 h 758"/>
                  <a:gd name="T18" fmla="*/ 0 w 1065"/>
                  <a:gd name="T19" fmla="*/ 2147483647 h 758"/>
                  <a:gd name="T20" fmla="*/ 2147483647 w 1065"/>
                  <a:gd name="T21" fmla="*/ 2147483647 h 758"/>
                  <a:gd name="T22" fmla="*/ 2147483647 w 1065"/>
                  <a:gd name="T23" fmla="*/ 2147483647 h 758"/>
                  <a:gd name="T24" fmla="*/ 2147483647 w 1065"/>
                  <a:gd name="T25" fmla="*/ 2147483647 h 758"/>
                  <a:gd name="T26" fmla="*/ 2147483647 w 1065"/>
                  <a:gd name="T27" fmla="*/ 2147483647 h 758"/>
                  <a:gd name="T28" fmla="*/ 2147483647 w 1065"/>
                  <a:gd name="T29" fmla="*/ 2147483647 h 758"/>
                  <a:gd name="T30" fmla="*/ 2147483647 w 1065"/>
                  <a:gd name="T31" fmla="*/ 2147483647 h 758"/>
                  <a:gd name="T32" fmla="*/ 2147483647 w 1065"/>
                  <a:gd name="T33" fmla="*/ 2147483647 h 758"/>
                  <a:gd name="T34" fmla="*/ 2147483647 w 1065"/>
                  <a:gd name="T35" fmla="*/ 2147483647 h 758"/>
                  <a:gd name="T36" fmla="*/ 2147483647 w 1065"/>
                  <a:gd name="T37" fmla="*/ 2147483647 h 758"/>
                  <a:gd name="T38" fmla="*/ 2147483647 w 1065"/>
                  <a:gd name="T39" fmla="*/ 2147483647 h 758"/>
                  <a:gd name="T40" fmla="*/ 2147483647 w 1065"/>
                  <a:gd name="T41" fmla="*/ 2147483647 h 758"/>
                  <a:gd name="T42" fmla="*/ 2147483647 w 1065"/>
                  <a:gd name="T43" fmla="*/ 2147483647 h 758"/>
                  <a:gd name="T44" fmla="*/ 2147483647 w 1065"/>
                  <a:gd name="T45" fmla="*/ 2147483647 h 758"/>
                  <a:gd name="T46" fmla="*/ 2147483647 w 1065"/>
                  <a:gd name="T47" fmla="*/ 2147483647 h 758"/>
                  <a:gd name="T48" fmla="*/ 2147483647 w 1065"/>
                  <a:gd name="T49" fmla="*/ 2147483647 h 758"/>
                  <a:gd name="T50" fmla="*/ 2147483647 w 1065"/>
                  <a:gd name="T51" fmla="*/ 2147483647 h 758"/>
                  <a:gd name="T52" fmla="*/ 2147483647 w 1065"/>
                  <a:gd name="T53" fmla="*/ 0 h 758"/>
                  <a:gd name="T54" fmla="*/ 2147483647 w 1065"/>
                  <a:gd name="T55" fmla="*/ 2147483647 h 758"/>
                  <a:gd name="T56" fmla="*/ 2147483647 w 1065"/>
                  <a:gd name="T57" fmla="*/ 2147483647 h 758"/>
                  <a:gd name="T58" fmla="*/ 2147483647 w 1065"/>
                  <a:gd name="T59" fmla="*/ 2147483647 h 758"/>
                  <a:gd name="T60" fmla="*/ 2147483647 w 1065"/>
                  <a:gd name="T61" fmla="*/ 2147483647 h 758"/>
                  <a:gd name="T62" fmla="*/ 2147483647 w 1065"/>
                  <a:gd name="T63" fmla="*/ 2147483647 h 758"/>
                  <a:gd name="T64" fmla="*/ 2147483647 w 1065"/>
                  <a:gd name="T65" fmla="*/ 2147483647 h 758"/>
                  <a:gd name="T66" fmla="*/ 2147483647 w 1065"/>
                  <a:gd name="T67" fmla="*/ 2147483647 h 758"/>
                  <a:gd name="T68" fmla="*/ 2147483647 w 1065"/>
                  <a:gd name="T69" fmla="*/ 2147483647 h 758"/>
                  <a:gd name="T70" fmla="*/ 2147483647 w 1065"/>
                  <a:gd name="T71" fmla="*/ 2147483647 h 758"/>
                  <a:gd name="T72" fmla="*/ 2147483647 w 1065"/>
                  <a:gd name="T73" fmla="*/ 2147483647 h 758"/>
                  <a:gd name="T74" fmla="*/ 2147483647 w 1065"/>
                  <a:gd name="T75" fmla="*/ 2147483647 h 758"/>
                  <a:gd name="T76" fmla="*/ 2147483647 w 1065"/>
                  <a:gd name="T77" fmla="*/ 2147483647 h 758"/>
                  <a:gd name="T78" fmla="*/ 2147483647 w 1065"/>
                  <a:gd name="T79" fmla="*/ 2147483647 h 758"/>
                  <a:gd name="T80" fmla="*/ 2147483647 w 1065"/>
                  <a:gd name="T81" fmla="*/ 2147483647 h 758"/>
                  <a:gd name="T82" fmla="*/ 2147483647 w 1065"/>
                  <a:gd name="T83" fmla="*/ 2147483647 h 758"/>
                  <a:gd name="T84" fmla="*/ 2147483647 w 1065"/>
                  <a:gd name="T85" fmla="*/ 2147483647 h 758"/>
                  <a:gd name="T86" fmla="*/ 2147483647 w 1065"/>
                  <a:gd name="T87" fmla="*/ 2147483647 h 758"/>
                  <a:gd name="T88" fmla="*/ 2147483647 w 1065"/>
                  <a:gd name="T89" fmla="*/ 2147483647 h 758"/>
                  <a:gd name="T90" fmla="*/ 2147483647 w 1065"/>
                  <a:gd name="T91" fmla="*/ 2147483647 h 758"/>
                  <a:gd name="T92" fmla="*/ 2147483647 w 1065"/>
                  <a:gd name="T93" fmla="*/ 2147483647 h 758"/>
                  <a:gd name="T94" fmla="*/ 2147483647 w 1065"/>
                  <a:gd name="T95" fmla="*/ 2147483647 h 758"/>
                  <a:gd name="T96" fmla="*/ 2147483647 w 1065"/>
                  <a:gd name="T97" fmla="*/ 2147483647 h 758"/>
                  <a:gd name="T98" fmla="*/ 2147483647 w 1065"/>
                  <a:gd name="T99" fmla="*/ 2147483647 h 758"/>
                  <a:gd name="T100" fmla="*/ 2147483647 w 1065"/>
                  <a:gd name="T101" fmla="*/ 2147483647 h 75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065"/>
                  <a:gd name="T154" fmla="*/ 0 h 758"/>
                  <a:gd name="T155" fmla="*/ 1065 w 1065"/>
                  <a:gd name="T156" fmla="*/ 758 h 758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065" h="758">
                    <a:moveTo>
                      <a:pt x="420" y="670"/>
                    </a:moveTo>
                    <a:lnTo>
                      <a:pt x="408" y="641"/>
                    </a:lnTo>
                    <a:lnTo>
                      <a:pt x="404" y="621"/>
                    </a:lnTo>
                    <a:lnTo>
                      <a:pt x="396" y="609"/>
                    </a:lnTo>
                    <a:lnTo>
                      <a:pt x="388" y="597"/>
                    </a:lnTo>
                    <a:lnTo>
                      <a:pt x="343" y="597"/>
                    </a:lnTo>
                    <a:lnTo>
                      <a:pt x="303" y="597"/>
                    </a:lnTo>
                    <a:lnTo>
                      <a:pt x="263" y="629"/>
                    </a:lnTo>
                    <a:lnTo>
                      <a:pt x="246" y="645"/>
                    </a:lnTo>
                    <a:lnTo>
                      <a:pt x="242" y="657"/>
                    </a:lnTo>
                    <a:lnTo>
                      <a:pt x="230" y="670"/>
                    </a:lnTo>
                    <a:lnTo>
                      <a:pt x="226" y="670"/>
                    </a:lnTo>
                    <a:lnTo>
                      <a:pt x="222" y="674"/>
                    </a:lnTo>
                    <a:lnTo>
                      <a:pt x="210" y="678"/>
                    </a:lnTo>
                    <a:lnTo>
                      <a:pt x="206" y="690"/>
                    </a:lnTo>
                    <a:lnTo>
                      <a:pt x="194" y="694"/>
                    </a:lnTo>
                    <a:lnTo>
                      <a:pt x="182" y="694"/>
                    </a:lnTo>
                    <a:lnTo>
                      <a:pt x="174" y="682"/>
                    </a:lnTo>
                    <a:lnTo>
                      <a:pt x="166" y="674"/>
                    </a:lnTo>
                    <a:lnTo>
                      <a:pt x="166" y="666"/>
                    </a:lnTo>
                    <a:lnTo>
                      <a:pt x="166" y="653"/>
                    </a:lnTo>
                    <a:lnTo>
                      <a:pt x="174" y="641"/>
                    </a:lnTo>
                    <a:lnTo>
                      <a:pt x="190" y="629"/>
                    </a:lnTo>
                    <a:lnTo>
                      <a:pt x="194" y="609"/>
                    </a:lnTo>
                    <a:lnTo>
                      <a:pt x="202" y="593"/>
                    </a:lnTo>
                    <a:lnTo>
                      <a:pt x="202" y="589"/>
                    </a:lnTo>
                    <a:lnTo>
                      <a:pt x="202" y="581"/>
                    </a:lnTo>
                    <a:lnTo>
                      <a:pt x="198" y="569"/>
                    </a:lnTo>
                    <a:lnTo>
                      <a:pt x="190" y="557"/>
                    </a:lnTo>
                    <a:lnTo>
                      <a:pt x="174" y="553"/>
                    </a:lnTo>
                    <a:lnTo>
                      <a:pt x="154" y="553"/>
                    </a:lnTo>
                    <a:lnTo>
                      <a:pt x="125" y="536"/>
                    </a:lnTo>
                    <a:lnTo>
                      <a:pt x="97" y="524"/>
                    </a:lnTo>
                    <a:lnTo>
                      <a:pt x="93" y="520"/>
                    </a:lnTo>
                    <a:lnTo>
                      <a:pt x="93" y="516"/>
                    </a:lnTo>
                    <a:lnTo>
                      <a:pt x="93" y="492"/>
                    </a:lnTo>
                    <a:lnTo>
                      <a:pt x="93" y="468"/>
                    </a:lnTo>
                    <a:lnTo>
                      <a:pt x="85" y="436"/>
                    </a:lnTo>
                    <a:lnTo>
                      <a:pt x="77" y="415"/>
                    </a:lnTo>
                    <a:lnTo>
                      <a:pt x="73" y="411"/>
                    </a:lnTo>
                    <a:lnTo>
                      <a:pt x="61" y="407"/>
                    </a:lnTo>
                    <a:lnTo>
                      <a:pt x="57" y="407"/>
                    </a:lnTo>
                    <a:lnTo>
                      <a:pt x="53" y="407"/>
                    </a:lnTo>
                    <a:lnTo>
                      <a:pt x="41" y="411"/>
                    </a:lnTo>
                    <a:lnTo>
                      <a:pt x="37" y="415"/>
                    </a:lnTo>
                    <a:lnTo>
                      <a:pt x="33" y="415"/>
                    </a:lnTo>
                    <a:lnTo>
                      <a:pt x="25" y="415"/>
                    </a:lnTo>
                    <a:lnTo>
                      <a:pt x="8" y="399"/>
                    </a:lnTo>
                    <a:lnTo>
                      <a:pt x="0" y="383"/>
                    </a:lnTo>
                    <a:lnTo>
                      <a:pt x="0" y="375"/>
                    </a:lnTo>
                    <a:lnTo>
                      <a:pt x="0" y="363"/>
                    </a:lnTo>
                    <a:lnTo>
                      <a:pt x="12" y="359"/>
                    </a:lnTo>
                    <a:lnTo>
                      <a:pt x="33" y="359"/>
                    </a:lnTo>
                    <a:lnTo>
                      <a:pt x="37" y="355"/>
                    </a:lnTo>
                    <a:lnTo>
                      <a:pt x="41" y="351"/>
                    </a:lnTo>
                    <a:lnTo>
                      <a:pt x="49" y="347"/>
                    </a:lnTo>
                    <a:lnTo>
                      <a:pt x="49" y="343"/>
                    </a:lnTo>
                    <a:lnTo>
                      <a:pt x="61" y="327"/>
                    </a:lnTo>
                    <a:lnTo>
                      <a:pt x="77" y="323"/>
                    </a:lnTo>
                    <a:lnTo>
                      <a:pt x="81" y="306"/>
                    </a:lnTo>
                    <a:lnTo>
                      <a:pt x="81" y="294"/>
                    </a:lnTo>
                    <a:lnTo>
                      <a:pt x="85" y="290"/>
                    </a:lnTo>
                    <a:lnTo>
                      <a:pt x="89" y="286"/>
                    </a:lnTo>
                    <a:lnTo>
                      <a:pt x="89" y="274"/>
                    </a:lnTo>
                    <a:lnTo>
                      <a:pt x="89" y="266"/>
                    </a:lnTo>
                    <a:lnTo>
                      <a:pt x="85" y="262"/>
                    </a:lnTo>
                    <a:lnTo>
                      <a:pt x="85" y="250"/>
                    </a:lnTo>
                    <a:lnTo>
                      <a:pt x="85" y="246"/>
                    </a:lnTo>
                    <a:lnTo>
                      <a:pt x="97" y="246"/>
                    </a:lnTo>
                    <a:lnTo>
                      <a:pt x="113" y="246"/>
                    </a:lnTo>
                    <a:lnTo>
                      <a:pt x="113" y="250"/>
                    </a:lnTo>
                    <a:lnTo>
                      <a:pt x="117" y="254"/>
                    </a:lnTo>
                    <a:lnTo>
                      <a:pt x="133" y="270"/>
                    </a:lnTo>
                    <a:lnTo>
                      <a:pt x="142" y="294"/>
                    </a:lnTo>
                    <a:lnTo>
                      <a:pt x="150" y="298"/>
                    </a:lnTo>
                    <a:lnTo>
                      <a:pt x="166" y="302"/>
                    </a:lnTo>
                    <a:lnTo>
                      <a:pt x="178" y="302"/>
                    </a:lnTo>
                    <a:lnTo>
                      <a:pt x="190" y="302"/>
                    </a:lnTo>
                    <a:lnTo>
                      <a:pt x="198" y="302"/>
                    </a:lnTo>
                    <a:lnTo>
                      <a:pt x="206" y="302"/>
                    </a:lnTo>
                    <a:lnTo>
                      <a:pt x="210" y="306"/>
                    </a:lnTo>
                    <a:lnTo>
                      <a:pt x="214" y="310"/>
                    </a:lnTo>
                    <a:lnTo>
                      <a:pt x="222" y="327"/>
                    </a:lnTo>
                    <a:lnTo>
                      <a:pt x="222" y="351"/>
                    </a:lnTo>
                    <a:lnTo>
                      <a:pt x="222" y="375"/>
                    </a:lnTo>
                    <a:lnTo>
                      <a:pt x="222" y="399"/>
                    </a:lnTo>
                    <a:lnTo>
                      <a:pt x="226" y="399"/>
                    </a:lnTo>
                    <a:lnTo>
                      <a:pt x="226" y="407"/>
                    </a:lnTo>
                    <a:lnTo>
                      <a:pt x="234" y="415"/>
                    </a:lnTo>
                    <a:lnTo>
                      <a:pt x="246" y="423"/>
                    </a:lnTo>
                    <a:lnTo>
                      <a:pt x="246" y="436"/>
                    </a:lnTo>
                    <a:lnTo>
                      <a:pt x="250" y="436"/>
                    </a:lnTo>
                    <a:lnTo>
                      <a:pt x="271" y="452"/>
                    </a:lnTo>
                    <a:lnTo>
                      <a:pt x="291" y="460"/>
                    </a:lnTo>
                    <a:lnTo>
                      <a:pt x="315" y="464"/>
                    </a:lnTo>
                    <a:lnTo>
                      <a:pt x="343" y="472"/>
                    </a:lnTo>
                    <a:lnTo>
                      <a:pt x="359" y="472"/>
                    </a:lnTo>
                    <a:lnTo>
                      <a:pt x="375" y="472"/>
                    </a:lnTo>
                    <a:lnTo>
                      <a:pt x="388" y="464"/>
                    </a:lnTo>
                    <a:lnTo>
                      <a:pt x="392" y="456"/>
                    </a:lnTo>
                    <a:lnTo>
                      <a:pt x="396" y="452"/>
                    </a:lnTo>
                    <a:lnTo>
                      <a:pt x="400" y="440"/>
                    </a:lnTo>
                    <a:lnTo>
                      <a:pt x="404" y="436"/>
                    </a:lnTo>
                    <a:lnTo>
                      <a:pt x="408" y="436"/>
                    </a:lnTo>
                    <a:lnTo>
                      <a:pt x="420" y="436"/>
                    </a:lnTo>
                    <a:lnTo>
                      <a:pt x="436" y="427"/>
                    </a:lnTo>
                    <a:lnTo>
                      <a:pt x="448" y="423"/>
                    </a:lnTo>
                    <a:lnTo>
                      <a:pt x="456" y="415"/>
                    </a:lnTo>
                    <a:lnTo>
                      <a:pt x="464" y="399"/>
                    </a:lnTo>
                    <a:lnTo>
                      <a:pt x="472" y="391"/>
                    </a:lnTo>
                    <a:lnTo>
                      <a:pt x="472" y="343"/>
                    </a:lnTo>
                    <a:lnTo>
                      <a:pt x="476" y="294"/>
                    </a:lnTo>
                    <a:lnTo>
                      <a:pt x="484" y="266"/>
                    </a:lnTo>
                    <a:lnTo>
                      <a:pt x="488" y="242"/>
                    </a:lnTo>
                    <a:lnTo>
                      <a:pt x="488" y="193"/>
                    </a:lnTo>
                    <a:lnTo>
                      <a:pt x="488" y="157"/>
                    </a:lnTo>
                    <a:lnTo>
                      <a:pt x="501" y="145"/>
                    </a:lnTo>
                    <a:lnTo>
                      <a:pt x="509" y="129"/>
                    </a:lnTo>
                    <a:lnTo>
                      <a:pt x="513" y="101"/>
                    </a:lnTo>
                    <a:lnTo>
                      <a:pt x="513" y="60"/>
                    </a:lnTo>
                    <a:lnTo>
                      <a:pt x="501" y="52"/>
                    </a:lnTo>
                    <a:lnTo>
                      <a:pt x="484" y="44"/>
                    </a:lnTo>
                    <a:lnTo>
                      <a:pt x="480" y="44"/>
                    </a:lnTo>
                    <a:lnTo>
                      <a:pt x="476" y="44"/>
                    </a:lnTo>
                    <a:lnTo>
                      <a:pt x="464" y="48"/>
                    </a:lnTo>
                    <a:lnTo>
                      <a:pt x="460" y="52"/>
                    </a:lnTo>
                    <a:lnTo>
                      <a:pt x="448" y="52"/>
                    </a:lnTo>
                    <a:lnTo>
                      <a:pt x="436" y="56"/>
                    </a:lnTo>
                    <a:lnTo>
                      <a:pt x="436" y="48"/>
                    </a:lnTo>
                    <a:lnTo>
                      <a:pt x="436" y="40"/>
                    </a:lnTo>
                    <a:lnTo>
                      <a:pt x="436" y="32"/>
                    </a:lnTo>
                    <a:lnTo>
                      <a:pt x="440" y="20"/>
                    </a:lnTo>
                    <a:lnTo>
                      <a:pt x="440" y="12"/>
                    </a:lnTo>
                    <a:lnTo>
                      <a:pt x="448" y="4"/>
                    </a:lnTo>
                    <a:lnTo>
                      <a:pt x="464" y="0"/>
                    </a:lnTo>
                    <a:lnTo>
                      <a:pt x="488" y="0"/>
                    </a:lnTo>
                    <a:lnTo>
                      <a:pt x="509" y="12"/>
                    </a:lnTo>
                    <a:lnTo>
                      <a:pt x="517" y="16"/>
                    </a:lnTo>
                    <a:lnTo>
                      <a:pt x="525" y="24"/>
                    </a:lnTo>
                    <a:lnTo>
                      <a:pt x="525" y="36"/>
                    </a:lnTo>
                    <a:lnTo>
                      <a:pt x="533" y="36"/>
                    </a:lnTo>
                    <a:lnTo>
                      <a:pt x="537" y="40"/>
                    </a:lnTo>
                    <a:lnTo>
                      <a:pt x="553" y="40"/>
                    </a:lnTo>
                    <a:lnTo>
                      <a:pt x="577" y="44"/>
                    </a:lnTo>
                    <a:lnTo>
                      <a:pt x="597" y="52"/>
                    </a:lnTo>
                    <a:lnTo>
                      <a:pt x="618" y="64"/>
                    </a:lnTo>
                    <a:lnTo>
                      <a:pt x="622" y="81"/>
                    </a:lnTo>
                    <a:lnTo>
                      <a:pt x="630" y="93"/>
                    </a:lnTo>
                    <a:lnTo>
                      <a:pt x="646" y="101"/>
                    </a:lnTo>
                    <a:lnTo>
                      <a:pt x="654" y="121"/>
                    </a:lnTo>
                    <a:lnTo>
                      <a:pt x="670" y="129"/>
                    </a:lnTo>
                    <a:lnTo>
                      <a:pt x="682" y="137"/>
                    </a:lnTo>
                    <a:lnTo>
                      <a:pt x="686" y="137"/>
                    </a:lnTo>
                    <a:lnTo>
                      <a:pt x="698" y="137"/>
                    </a:lnTo>
                    <a:lnTo>
                      <a:pt x="706" y="137"/>
                    </a:lnTo>
                    <a:lnTo>
                      <a:pt x="722" y="133"/>
                    </a:lnTo>
                    <a:lnTo>
                      <a:pt x="730" y="133"/>
                    </a:lnTo>
                    <a:lnTo>
                      <a:pt x="739" y="133"/>
                    </a:lnTo>
                    <a:lnTo>
                      <a:pt x="755" y="137"/>
                    </a:lnTo>
                    <a:lnTo>
                      <a:pt x="775" y="145"/>
                    </a:lnTo>
                    <a:lnTo>
                      <a:pt x="779" y="157"/>
                    </a:lnTo>
                    <a:lnTo>
                      <a:pt x="783" y="165"/>
                    </a:lnTo>
                    <a:lnTo>
                      <a:pt x="791" y="165"/>
                    </a:lnTo>
                    <a:lnTo>
                      <a:pt x="807" y="165"/>
                    </a:lnTo>
                    <a:lnTo>
                      <a:pt x="815" y="157"/>
                    </a:lnTo>
                    <a:lnTo>
                      <a:pt x="823" y="157"/>
                    </a:lnTo>
                    <a:lnTo>
                      <a:pt x="835" y="141"/>
                    </a:lnTo>
                    <a:lnTo>
                      <a:pt x="839" y="133"/>
                    </a:lnTo>
                    <a:lnTo>
                      <a:pt x="839" y="129"/>
                    </a:lnTo>
                    <a:lnTo>
                      <a:pt x="839" y="121"/>
                    </a:lnTo>
                    <a:lnTo>
                      <a:pt x="823" y="97"/>
                    </a:lnTo>
                    <a:lnTo>
                      <a:pt x="811" y="72"/>
                    </a:lnTo>
                    <a:lnTo>
                      <a:pt x="807" y="68"/>
                    </a:lnTo>
                    <a:lnTo>
                      <a:pt x="795" y="64"/>
                    </a:lnTo>
                    <a:lnTo>
                      <a:pt x="795" y="52"/>
                    </a:lnTo>
                    <a:lnTo>
                      <a:pt x="795" y="48"/>
                    </a:lnTo>
                    <a:lnTo>
                      <a:pt x="807" y="48"/>
                    </a:lnTo>
                    <a:lnTo>
                      <a:pt x="819" y="44"/>
                    </a:lnTo>
                    <a:lnTo>
                      <a:pt x="843" y="56"/>
                    </a:lnTo>
                    <a:lnTo>
                      <a:pt x="868" y="68"/>
                    </a:lnTo>
                    <a:lnTo>
                      <a:pt x="900" y="81"/>
                    </a:lnTo>
                    <a:lnTo>
                      <a:pt x="928" y="89"/>
                    </a:lnTo>
                    <a:lnTo>
                      <a:pt x="932" y="93"/>
                    </a:lnTo>
                    <a:lnTo>
                      <a:pt x="936" y="93"/>
                    </a:lnTo>
                    <a:lnTo>
                      <a:pt x="940" y="109"/>
                    </a:lnTo>
                    <a:lnTo>
                      <a:pt x="956" y="137"/>
                    </a:lnTo>
                    <a:lnTo>
                      <a:pt x="977" y="145"/>
                    </a:lnTo>
                    <a:lnTo>
                      <a:pt x="989" y="157"/>
                    </a:lnTo>
                    <a:lnTo>
                      <a:pt x="1013" y="165"/>
                    </a:lnTo>
                    <a:lnTo>
                      <a:pt x="1029" y="173"/>
                    </a:lnTo>
                    <a:lnTo>
                      <a:pt x="1049" y="202"/>
                    </a:lnTo>
                    <a:lnTo>
                      <a:pt x="1057" y="214"/>
                    </a:lnTo>
                    <a:lnTo>
                      <a:pt x="1057" y="218"/>
                    </a:lnTo>
                    <a:lnTo>
                      <a:pt x="1065" y="218"/>
                    </a:lnTo>
                    <a:lnTo>
                      <a:pt x="1057" y="246"/>
                    </a:lnTo>
                    <a:lnTo>
                      <a:pt x="1057" y="266"/>
                    </a:lnTo>
                    <a:lnTo>
                      <a:pt x="1053" y="282"/>
                    </a:lnTo>
                    <a:lnTo>
                      <a:pt x="1049" y="294"/>
                    </a:lnTo>
                    <a:lnTo>
                      <a:pt x="1041" y="298"/>
                    </a:lnTo>
                    <a:lnTo>
                      <a:pt x="1033" y="306"/>
                    </a:lnTo>
                    <a:lnTo>
                      <a:pt x="1017" y="310"/>
                    </a:lnTo>
                    <a:lnTo>
                      <a:pt x="1005" y="315"/>
                    </a:lnTo>
                    <a:lnTo>
                      <a:pt x="1001" y="323"/>
                    </a:lnTo>
                    <a:lnTo>
                      <a:pt x="989" y="351"/>
                    </a:lnTo>
                    <a:lnTo>
                      <a:pt x="985" y="391"/>
                    </a:lnTo>
                    <a:lnTo>
                      <a:pt x="977" y="399"/>
                    </a:lnTo>
                    <a:lnTo>
                      <a:pt x="960" y="399"/>
                    </a:lnTo>
                    <a:lnTo>
                      <a:pt x="940" y="407"/>
                    </a:lnTo>
                    <a:lnTo>
                      <a:pt x="924" y="411"/>
                    </a:lnTo>
                    <a:lnTo>
                      <a:pt x="920" y="415"/>
                    </a:lnTo>
                    <a:lnTo>
                      <a:pt x="904" y="419"/>
                    </a:lnTo>
                    <a:lnTo>
                      <a:pt x="856" y="423"/>
                    </a:lnTo>
                    <a:lnTo>
                      <a:pt x="811" y="427"/>
                    </a:lnTo>
                    <a:lnTo>
                      <a:pt x="783" y="427"/>
                    </a:lnTo>
                    <a:lnTo>
                      <a:pt x="755" y="427"/>
                    </a:lnTo>
                    <a:lnTo>
                      <a:pt x="718" y="436"/>
                    </a:lnTo>
                    <a:lnTo>
                      <a:pt x="674" y="436"/>
                    </a:lnTo>
                    <a:lnTo>
                      <a:pt x="654" y="448"/>
                    </a:lnTo>
                    <a:lnTo>
                      <a:pt x="634" y="452"/>
                    </a:lnTo>
                    <a:lnTo>
                      <a:pt x="630" y="460"/>
                    </a:lnTo>
                    <a:lnTo>
                      <a:pt x="622" y="472"/>
                    </a:lnTo>
                    <a:lnTo>
                      <a:pt x="601" y="484"/>
                    </a:lnTo>
                    <a:lnTo>
                      <a:pt x="589" y="492"/>
                    </a:lnTo>
                    <a:lnTo>
                      <a:pt x="577" y="504"/>
                    </a:lnTo>
                    <a:lnTo>
                      <a:pt x="561" y="520"/>
                    </a:lnTo>
                    <a:lnTo>
                      <a:pt x="553" y="540"/>
                    </a:lnTo>
                    <a:lnTo>
                      <a:pt x="553" y="553"/>
                    </a:lnTo>
                    <a:lnTo>
                      <a:pt x="553" y="589"/>
                    </a:lnTo>
                    <a:lnTo>
                      <a:pt x="553" y="629"/>
                    </a:lnTo>
                    <a:lnTo>
                      <a:pt x="553" y="653"/>
                    </a:lnTo>
                    <a:lnTo>
                      <a:pt x="553" y="674"/>
                    </a:lnTo>
                    <a:lnTo>
                      <a:pt x="561" y="678"/>
                    </a:lnTo>
                    <a:lnTo>
                      <a:pt x="565" y="682"/>
                    </a:lnTo>
                    <a:lnTo>
                      <a:pt x="565" y="690"/>
                    </a:lnTo>
                    <a:lnTo>
                      <a:pt x="565" y="694"/>
                    </a:lnTo>
                    <a:lnTo>
                      <a:pt x="561" y="706"/>
                    </a:lnTo>
                    <a:lnTo>
                      <a:pt x="553" y="718"/>
                    </a:lnTo>
                    <a:lnTo>
                      <a:pt x="549" y="722"/>
                    </a:lnTo>
                    <a:lnTo>
                      <a:pt x="533" y="730"/>
                    </a:lnTo>
                    <a:lnTo>
                      <a:pt x="517" y="730"/>
                    </a:lnTo>
                    <a:lnTo>
                      <a:pt x="517" y="734"/>
                    </a:lnTo>
                    <a:lnTo>
                      <a:pt x="513" y="738"/>
                    </a:lnTo>
                    <a:lnTo>
                      <a:pt x="505" y="738"/>
                    </a:lnTo>
                    <a:lnTo>
                      <a:pt x="492" y="742"/>
                    </a:lnTo>
                    <a:lnTo>
                      <a:pt x="484" y="746"/>
                    </a:lnTo>
                    <a:lnTo>
                      <a:pt x="456" y="758"/>
                    </a:lnTo>
                    <a:lnTo>
                      <a:pt x="448" y="758"/>
                    </a:lnTo>
                    <a:lnTo>
                      <a:pt x="436" y="758"/>
                    </a:lnTo>
                    <a:lnTo>
                      <a:pt x="424" y="746"/>
                    </a:lnTo>
                    <a:lnTo>
                      <a:pt x="408" y="738"/>
                    </a:lnTo>
                    <a:lnTo>
                      <a:pt x="408" y="730"/>
                    </a:lnTo>
                    <a:lnTo>
                      <a:pt x="408" y="718"/>
                    </a:lnTo>
                    <a:lnTo>
                      <a:pt x="412" y="718"/>
                    </a:lnTo>
                    <a:lnTo>
                      <a:pt x="412" y="694"/>
                    </a:lnTo>
                    <a:lnTo>
                      <a:pt x="420" y="67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42" name="Freeform 50"/>
              <p:cNvSpPr>
                <a:spLocks/>
              </p:cNvSpPr>
              <p:nvPr/>
            </p:nvSpPr>
            <p:spPr bwMode="auto">
              <a:xfrm>
                <a:off x="2857586" y="2574869"/>
                <a:ext cx="1062038" cy="742597"/>
              </a:xfrm>
              <a:custGeom>
                <a:avLst/>
                <a:gdLst>
                  <a:gd name="T0" fmla="*/ 273680285 w 1182"/>
                  <a:gd name="T1" fmla="*/ 614902603 h 835"/>
                  <a:gd name="T2" fmla="*/ 228470896 w 1182"/>
                  <a:gd name="T3" fmla="*/ 596705707 h 835"/>
                  <a:gd name="T4" fmla="*/ 192141518 w 1182"/>
                  <a:gd name="T5" fmla="*/ 562586307 h 835"/>
                  <a:gd name="T6" fmla="*/ 146932185 w 1182"/>
                  <a:gd name="T7" fmla="*/ 523160568 h 835"/>
                  <a:gd name="T8" fmla="*/ 124326620 w 1182"/>
                  <a:gd name="T9" fmla="*/ 482975536 h 835"/>
                  <a:gd name="T10" fmla="*/ 81538739 w 1182"/>
                  <a:gd name="T11" fmla="*/ 434450369 h 835"/>
                  <a:gd name="T12" fmla="*/ 42787868 w 1182"/>
                  <a:gd name="T13" fmla="*/ 394265337 h 835"/>
                  <a:gd name="T14" fmla="*/ 10495476 w 1182"/>
                  <a:gd name="T15" fmla="*/ 366969992 h 835"/>
                  <a:gd name="T16" fmla="*/ 23412432 w 1182"/>
                  <a:gd name="T17" fmla="*/ 330576198 h 835"/>
                  <a:gd name="T18" fmla="*/ 62163310 w 1182"/>
                  <a:gd name="T19" fmla="*/ 308588934 h 835"/>
                  <a:gd name="T20" fmla="*/ 65392548 w 1182"/>
                  <a:gd name="T21" fmla="*/ 260063876 h 835"/>
                  <a:gd name="T22" fmla="*/ 75080263 w 1182"/>
                  <a:gd name="T23" fmla="*/ 216845974 h 835"/>
                  <a:gd name="T24" fmla="*/ 94455691 w 1182"/>
                  <a:gd name="T25" fmla="*/ 183484996 h 835"/>
                  <a:gd name="T26" fmla="*/ 124326620 w 1182"/>
                  <a:gd name="T27" fmla="*/ 171353731 h 835"/>
                  <a:gd name="T28" fmla="*/ 231700134 w 1182"/>
                  <a:gd name="T29" fmla="*/ 147091202 h 835"/>
                  <a:gd name="T30" fmla="*/ 273680285 w 1182"/>
                  <a:gd name="T31" fmla="*/ 134201516 h 835"/>
                  <a:gd name="T32" fmla="*/ 293863472 w 1182"/>
                  <a:gd name="T33" fmla="*/ 150124018 h 835"/>
                  <a:gd name="T34" fmla="*/ 332614329 w 1182"/>
                  <a:gd name="T35" fmla="*/ 153156835 h 835"/>
                  <a:gd name="T36" fmla="*/ 374595323 w 1182"/>
                  <a:gd name="T37" fmla="*/ 122071122 h 835"/>
                  <a:gd name="T38" fmla="*/ 385089897 w 1182"/>
                  <a:gd name="T39" fmla="*/ 91742933 h 835"/>
                  <a:gd name="T40" fmla="*/ 404466224 w 1182"/>
                  <a:gd name="T41" fmla="*/ 64447588 h 835"/>
                  <a:gd name="T42" fmla="*/ 469050986 w 1182"/>
                  <a:gd name="T43" fmla="*/ 70513220 h 835"/>
                  <a:gd name="T44" fmla="*/ 508609714 w 1182"/>
                  <a:gd name="T45" fmla="*/ 70513220 h 835"/>
                  <a:gd name="T46" fmla="*/ 540902993 w 1182"/>
                  <a:gd name="T47" fmla="*/ 27295352 h 835"/>
                  <a:gd name="T48" fmla="*/ 586920085 w 1182"/>
                  <a:gd name="T49" fmla="*/ 6065634 h 835"/>
                  <a:gd name="T50" fmla="*/ 625670941 w 1182"/>
                  <a:gd name="T51" fmla="*/ 6065634 h 835"/>
                  <a:gd name="T52" fmla="*/ 657963322 w 1182"/>
                  <a:gd name="T53" fmla="*/ 42459440 h 835"/>
                  <a:gd name="T54" fmla="*/ 736273693 w 1182"/>
                  <a:gd name="T55" fmla="*/ 82644485 h 835"/>
                  <a:gd name="T56" fmla="*/ 785520023 w 1182"/>
                  <a:gd name="T57" fmla="*/ 116005490 h 835"/>
                  <a:gd name="T58" fmla="*/ 801666213 w 1182"/>
                  <a:gd name="T59" fmla="*/ 137234332 h 835"/>
                  <a:gd name="T60" fmla="*/ 814583166 w 1182"/>
                  <a:gd name="T61" fmla="*/ 150124018 h 835"/>
                  <a:gd name="T62" fmla="*/ 843646308 w 1182"/>
                  <a:gd name="T63" fmla="*/ 189550628 h 835"/>
                  <a:gd name="T64" fmla="*/ 879975686 w 1182"/>
                  <a:gd name="T65" fmla="*/ 238834163 h 835"/>
                  <a:gd name="T66" fmla="*/ 902580352 w 1182"/>
                  <a:gd name="T67" fmla="*/ 272195141 h 835"/>
                  <a:gd name="T68" fmla="*/ 941332108 w 1182"/>
                  <a:gd name="T69" fmla="*/ 287359221 h 835"/>
                  <a:gd name="T70" fmla="*/ 954249285 w 1182"/>
                  <a:gd name="T71" fmla="*/ 308588934 h 835"/>
                  <a:gd name="T72" fmla="*/ 941332108 w 1182"/>
                  <a:gd name="T73" fmla="*/ 333609015 h 835"/>
                  <a:gd name="T74" fmla="*/ 918727441 w 1182"/>
                  <a:gd name="T75" fmla="*/ 354838728 h 835"/>
                  <a:gd name="T76" fmla="*/ 899351114 w 1182"/>
                  <a:gd name="T77" fmla="*/ 409429418 h 835"/>
                  <a:gd name="T78" fmla="*/ 876746448 w 1182"/>
                  <a:gd name="T79" fmla="*/ 452647266 h 835"/>
                  <a:gd name="T80" fmla="*/ 876746448 w 1182"/>
                  <a:gd name="T81" fmla="*/ 501930855 h 835"/>
                  <a:gd name="T82" fmla="*/ 879975686 w 1182"/>
                  <a:gd name="T83" fmla="*/ 529225330 h 835"/>
                  <a:gd name="T84" fmla="*/ 867058734 w 1182"/>
                  <a:gd name="T85" fmla="*/ 541356594 h 835"/>
                  <a:gd name="T86" fmla="*/ 840417070 w 1182"/>
                  <a:gd name="T87" fmla="*/ 562586307 h 835"/>
                  <a:gd name="T88" fmla="*/ 801666213 w 1182"/>
                  <a:gd name="T89" fmla="*/ 559553491 h 835"/>
                  <a:gd name="T90" fmla="*/ 785520023 w 1182"/>
                  <a:gd name="T91" fmla="*/ 556520675 h 835"/>
                  <a:gd name="T92" fmla="*/ 765336836 w 1182"/>
                  <a:gd name="T93" fmla="*/ 541356594 h 835"/>
                  <a:gd name="T94" fmla="*/ 726585080 w 1182"/>
                  <a:gd name="T95" fmla="*/ 526192513 h 835"/>
                  <a:gd name="T96" fmla="*/ 678146509 w 1182"/>
                  <a:gd name="T97" fmla="*/ 511029303 h 835"/>
                  <a:gd name="T98" fmla="*/ 641817132 w 1182"/>
                  <a:gd name="T99" fmla="*/ 526192513 h 835"/>
                  <a:gd name="T100" fmla="*/ 615983227 w 1182"/>
                  <a:gd name="T101" fmla="*/ 556520675 h 835"/>
                  <a:gd name="T102" fmla="*/ 596607799 w 1182"/>
                  <a:gd name="T103" fmla="*/ 577750388 h 835"/>
                  <a:gd name="T104" fmla="*/ 577232370 w 1182"/>
                  <a:gd name="T105" fmla="*/ 596705707 h 835"/>
                  <a:gd name="T106" fmla="*/ 553819945 w 1182"/>
                  <a:gd name="T107" fmla="*/ 586848836 h 835"/>
                  <a:gd name="T108" fmla="*/ 534444517 w 1182"/>
                  <a:gd name="T109" fmla="*/ 568651940 h 835"/>
                  <a:gd name="T110" fmla="*/ 498921999 w 1182"/>
                  <a:gd name="T111" fmla="*/ 580783204 h 835"/>
                  <a:gd name="T112" fmla="*/ 486005047 w 1182"/>
                  <a:gd name="T113" fmla="*/ 596705707 h 835"/>
                  <a:gd name="T114" fmla="*/ 404466224 w 1182"/>
                  <a:gd name="T115" fmla="*/ 614902603 h 835"/>
                  <a:gd name="T116" fmla="*/ 355219894 w 1182"/>
                  <a:gd name="T117" fmla="*/ 633099500 h 83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182"/>
                  <a:gd name="T178" fmla="*/ 0 h 835"/>
                  <a:gd name="T179" fmla="*/ 1182 w 1182"/>
                  <a:gd name="T180" fmla="*/ 835 h 835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182" h="835">
                    <a:moveTo>
                      <a:pt x="396" y="835"/>
                    </a:moveTo>
                    <a:lnTo>
                      <a:pt x="372" y="827"/>
                    </a:lnTo>
                    <a:lnTo>
                      <a:pt x="347" y="811"/>
                    </a:lnTo>
                    <a:lnTo>
                      <a:pt x="339" y="811"/>
                    </a:lnTo>
                    <a:lnTo>
                      <a:pt x="335" y="807"/>
                    </a:lnTo>
                    <a:lnTo>
                      <a:pt x="315" y="791"/>
                    </a:lnTo>
                    <a:lnTo>
                      <a:pt x="295" y="787"/>
                    </a:lnTo>
                    <a:lnTo>
                      <a:pt x="283" y="787"/>
                    </a:lnTo>
                    <a:lnTo>
                      <a:pt x="275" y="787"/>
                    </a:lnTo>
                    <a:lnTo>
                      <a:pt x="259" y="766"/>
                    </a:lnTo>
                    <a:lnTo>
                      <a:pt x="243" y="750"/>
                    </a:lnTo>
                    <a:lnTo>
                      <a:pt x="238" y="742"/>
                    </a:lnTo>
                    <a:lnTo>
                      <a:pt x="230" y="742"/>
                    </a:lnTo>
                    <a:lnTo>
                      <a:pt x="206" y="722"/>
                    </a:lnTo>
                    <a:lnTo>
                      <a:pt x="190" y="714"/>
                    </a:lnTo>
                    <a:lnTo>
                      <a:pt x="182" y="690"/>
                    </a:lnTo>
                    <a:lnTo>
                      <a:pt x="170" y="674"/>
                    </a:lnTo>
                    <a:lnTo>
                      <a:pt x="166" y="653"/>
                    </a:lnTo>
                    <a:lnTo>
                      <a:pt x="154" y="641"/>
                    </a:lnTo>
                    <a:lnTo>
                      <a:pt x="154" y="637"/>
                    </a:lnTo>
                    <a:lnTo>
                      <a:pt x="146" y="633"/>
                    </a:lnTo>
                    <a:lnTo>
                      <a:pt x="138" y="617"/>
                    </a:lnTo>
                    <a:lnTo>
                      <a:pt x="130" y="605"/>
                    </a:lnTo>
                    <a:lnTo>
                      <a:pt x="101" y="573"/>
                    </a:lnTo>
                    <a:lnTo>
                      <a:pt x="73" y="545"/>
                    </a:lnTo>
                    <a:lnTo>
                      <a:pt x="69" y="532"/>
                    </a:lnTo>
                    <a:lnTo>
                      <a:pt x="57" y="528"/>
                    </a:lnTo>
                    <a:lnTo>
                      <a:pt x="53" y="520"/>
                    </a:lnTo>
                    <a:lnTo>
                      <a:pt x="49" y="508"/>
                    </a:lnTo>
                    <a:lnTo>
                      <a:pt x="29" y="504"/>
                    </a:lnTo>
                    <a:lnTo>
                      <a:pt x="17" y="492"/>
                    </a:lnTo>
                    <a:lnTo>
                      <a:pt x="13" y="484"/>
                    </a:lnTo>
                    <a:lnTo>
                      <a:pt x="9" y="476"/>
                    </a:lnTo>
                    <a:lnTo>
                      <a:pt x="9" y="456"/>
                    </a:lnTo>
                    <a:lnTo>
                      <a:pt x="0" y="444"/>
                    </a:lnTo>
                    <a:lnTo>
                      <a:pt x="29" y="436"/>
                    </a:lnTo>
                    <a:lnTo>
                      <a:pt x="53" y="432"/>
                    </a:lnTo>
                    <a:lnTo>
                      <a:pt x="65" y="419"/>
                    </a:lnTo>
                    <a:lnTo>
                      <a:pt x="77" y="411"/>
                    </a:lnTo>
                    <a:lnTo>
                      <a:pt x="77" y="407"/>
                    </a:lnTo>
                    <a:lnTo>
                      <a:pt x="81" y="403"/>
                    </a:lnTo>
                    <a:lnTo>
                      <a:pt x="81" y="395"/>
                    </a:lnTo>
                    <a:lnTo>
                      <a:pt x="89" y="383"/>
                    </a:lnTo>
                    <a:lnTo>
                      <a:pt x="81" y="343"/>
                    </a:lnTo>
                    <a:lnTo>
                      <a:pt x="81" y="306"/>
                    </a:lnTo>
                    <a:lnTo>
                      <a:pt x="89" y="298"/>
                    </a:lnTo>
                    <a:lnTo>
                      <a:pt x="93" y="290"/>
                    </a:lnTo>
                    <a:lnTo>
                      <a:pt x="93" y="286"/>
                    </a:lnTo>
                    <a:lnTo>
                      <a:pt x="101" y="286"/>
                    </a:lnTo>
                    <a:lnTo>
                      <a:pt x="109" y="266"/>
                    </a:lnTo>
                    <a:lnTo>
                      <a:pt x="117" y="250"/>
                    </a:lnTo>
                    <a:lnTo>
                      <a:pt x="117" y="242"/>
                    </a:lnTo>
                    <a:lnTo>
                      <a:pt x="126" y="238"/>
                    </a:lnTo>
                    <a:lnTo>
                      <a:pt x="130" y="234"/>
                    </a:lnTo>
                    <a:lnTo>
                      <a:pt x="142" y="234"/>
                    </a:lnTo>
                    <a:lnTo>
                      <a:pt x="154" y="226"/>
                    </a:lnTo>
                    <a:lnTo>
                      <a:pt x="166" y="214"/>
                    </a:lnTo>
                    <a:lnTo>
                      <a:pt x="214" y="214"/>
                    </a:lnTo>
                    <a:lnTo>
                      <a:pt x="267" y="206"/>
                    </a:lnTo>
                    <a:lnTo>
                      <a:pt x="287" y="194"/>
                    </a:lnTo>
                    <a:lnTo>
                      <a:pt x="307" y="177"/>
                    </a:lnTo>
                    <a:lnTo>
                      <a:pt x="323" y="177"/>
                    </a:lnTo>
                    <a:lnTo>
                      <a:pt x="339" y="169"/>
                    </a:lnTo>
                    <a:lnTo>
                      <a:pt x="339" y="177"/>
                    </a:lnTo>
                    <a:lnTo>
                      <a:pt x="339" y="185"/>
                    </a:lnTo>
                    <a:lnTo>
                      <a:pt x="347" y="189"/>
                    </a:lnTo>
                    <a:lnTo>
                      <a:pt x="351" y="194"/>
                    </a:lnTo>
                    <a:lnTo>
                      <a:pt x="364" y="198"/>
                    </a:lnTo>
                    <a:lnTo>
                      <a:pt x="384" y="206"/>
                    </a:lnTo>
                    <a:lnTo>
                      <a:pt x="392" y="206"/>
                    </a:lnTo>
                    <a:lnTo>
                      <a:pt x="400" y="206"/>
                    </a:lnTo>
                    <a:lnTo>
                      <a:pt x="412" y="202"/>
                    </a:lnTo>
                    <a:lnTo>
                      <a:pt x="428" y="198"/>
                    </a:lnTo>
                    <a:lnTo>
                      <a:pt x="444" y="185"/>
                    </a:lnTo>
                    <a:lnTo>
                      <a:pt x="460" y="169"/>
                    </a:lnTo>
                    <a:lnTo>
                      <a:pt x="464" y="161"/>
                    </a:lnTo>
                    <a:lnTo>
                      <a:pt x="464" y="149"/>
                    </a:lnTo>
                    <a:lnTo>
                      <a:pt x="468" y="145"/>
                    </a:lnTo>
                    <a:lnTo>
                      <a:pt x="472" y="141"/>
                    </a:lnTo>
                    <a:lnTo>
                      <a:pt x="477" y="121"/>
                    </a:lnTo>
                    <a:lnTo>
                      <a:pt x="481" y="97"/>
                    </a:lnTo>
                    <a:lnTo>
                      <a:pt x="481" y="93"/>
                    </a:lnTo>
                    <a:lnTo>
                      <a:pt x="489" y="93"/>
                    </a:lnTo>
                    <a:lnTo>
                      <a:pt x="501" y="85"/>
                    </a:lnTo>
                    <a:lnTo>
                      <a:pt x="521" y="85"/>
                    </a:lnTo>
                    <a:lnTo>
                      <a:pt x="541" y="85"/>
                    </a:lnTo>
                    <a:lnTo>
                      <a:pt x="569" y="85"/>
                    </a:lnTo>
                    <a:lnTo>
                      <a:pt x="581" y="93"/>
                    </a:lnTo>
                    <a:lnTo>
                      <a:pt x="602" y="101"/>
                    </a:lnTo>
                    <a:lnTo>
                      <a:pt x="610" y="101"/>
                    </a:lnTo>
                    <a:lnTo>
                      <a:pt x="618" y="101"/>
                    </a:lnTo>
                    <a:lnTo>
                      <a:pt x="630" y="93"/>
                    </a:lnTo>
                    <a:lnTo>
                      <a:pt x="642" y="81"/>
                    </a:lnTo>
                    <a:lnTo>
                      <a:pt x="650" y="64"/>
                    </a:lnTo>
                    <a:lnTo>
                      <a:pt x="654" y="48"/>
                    </a:lnTo>
                    <a:lnTo>
                      <a:pt x="670" y="36"/>
                    </a:lnTo>
                    <a:lnTo>
                      <a:pt x="698" y="32"/>
                    </a:lnTo>
                    <a:lnTo>
                      <a:pt x="706" y="24"/>
                    </a:lnTo>
                    <a:lnTo>
                      <a:pt x="715" y="8"/>
                    </a:lnTo>
                    <a:lnTo>
                      <a:pt x="727" y="8"/>
                    </a:lnTo>
                    <a:lnTo>
                      <a:pt x="735" y="0"/>
                    </a:lnTo>
                    <a:lnTo>
                      <a:pt x="751" y="0"/>
                    </a:lnTo>
                    <a:lnTo>
                      <a:pt x="771" y="0"/>
                    </a:lnTo>
                    <a:lnTo>
                      <a:pt x="775" y="8"/>
                    </a:lnTo>
                    <a:lnTo>
                      <a:pt x="783" y="16"/>
                    </a:lnTo>
                    <a:lnTo>
                      <a:pt x="791" y="28"/>
                    </a:lnTo>
                    <a:lnTo>
                      <a:pt x="799" y="44"/>
                    </a:lnTo>
                    <a:lnTo>
                      <a:pt x="815" y="56"/>
                    </a:lnTo>
                    <a:lnTo>
                      <a:pt x="832" y="68"/>
                    </a:lnTo>
                    <a:lnTo>
                      <a:pt x="848" y="81"/>
                    </a:lnTo>
                    <a:lnTo>
                      <a:pt x="900" y="101"/>
                    </a:lnTo>
                    <a:lnTo>
                      <a:pt x="912" y="109"/>
                    </a:lnTo>
                    <a:lnTo>
                      <a:pt x="920" y="121"/>
                    </a:lnTo>
                    <a:lnTo>
                      <a:pt x="928" y="129"/>
                    </a:lnTo>
                    <a:lnTo>
                      <a:pt x="957" y="145"/>
                    </a:lnTo>
                    <a:lnTo>
                      <a:pt x="973" y="153"/>
                    </a:lnTo>
                    <a:lnTo>
                      <a:pt x="985" y="165"/>
                    </a:lnTo>
                    <a:lnTo>
                      <a:pt x="985" y="177"/>
                    </a:lnTo>
                    <a:lnTo>
                      <a:pt x="985" y="181"/>
                    </a:lnTo>
                    <a:lnTo>
                      <a:pt x="993" y="181"/>
                    </a:lnTo>
                    <a:lnTo>
                      <a:pt x="1001" y="181"/>
                    </a:lnTo>
                    <a:lnTo>
                      <a:pt x="1005" y="185"/>
                    </a:lnTo>
                    <a:lnTo>
                      <a:pt x="1009" y="189"/>
                    </a:lnTo>
                    <a:lnTo>
                      <a:pt x="1009" y="198"/>
                    </a:lnTo>
                    <a:lnTo>
                      <a:pt x="1017" y="206"/>
                    </a:lnTo>
                    <a:lnTo>
                      <a:pt x="1021" y="218"/>
                    </a:lnTo>
                    <a:lnTo>
                      <a:pt x="1037" y="230"/>
                    </a:lnTo>
                    <a:lnTo>
                      <a:pt x="1045" y="250"/>
                    </a:lnTo>
                    <a:lnTo>
                      <a:pt x="1053" y="266"/>
                    </a:lnTo>
                    <a:lnTo>
                      <a:pt x="1070" y="286"/>
                    </a:lnTo>
                    <a:lnTo>
                      <a:pt x="1086" y="302"/>
                    </a:lnTo>
                    <a:lnTo>
                      <a:pt x="1090" y="315"/>
                    </a:lnTo>
                    <a:lnTo>
                      <a:pt x="1094" y="335"/>
                    </a:lnTo>
                    <a:lnTo>
                      <a:pt x="1102" y="339"/>
                    </a:lnTo>
                    <a:lnTo>
                      <a:pt x="1114" y="347"/>
                    </a:lnTo>
                    <a:lnTo>
                      <a:pt x="1118" y="359"/>
                    </a:lnTo>
                    <a:lnTo>
                      <a:pt x="1122" y="367"/>
                    </a:lnTo>
                    <a:lnTo>
                      <a:pt x="1138" y="375"/>
                    </a:lnTo>
                    <a:lnTo>
                      <a:pt x="1162" y="375"/>
                    </a:lnTo>
                    <a:lnTo>
                      <a:pt x="1166" y="379"/>
                    </a:lnTo>
                    <a:lnTo>
                      <a:pt x="1174" y="383"/>
                    </a:lnTo>
                    <a:lnTo>
                      <a:pt x="1178" y="387"/>
                    </a:lnTo>
                    <a:lnTo>
                      <a:pt x="1182" y="395"/>
                    </a:lnTo>
                    <a:lnTo>
                      <a:pt x="1182" y="407"/>
                    </a:lnTo>
                    <a:lnTo>
                      <a:pt x="1182" y="419"/>
                    </a:lnTo>
                    <a:lnTo>
                      <a:pt x="1178" y="432"/>
                    </a:lnTo>
                    <a:lnTo>
                      <a:pt x="1170" y="436"/>
                    </a:lnTo>
                    <a:lnTo>
                      <a:pt x="1166" y="440"/>
                    </a:lnTo>
                    <a:lnTo>
                      <a:pt x="1162" y="440"/>
                    </a:lnTo>
                    <a:lnTo>
                      <a:pt x="1150" y="448"/>
                    </a:lnTo>
                    <a:lnTo>
                      <a:pt x="1150" y="456"/>
                    </a:lnTo>
                    <a:lnTo>
                      <a:pt x="1138" y="468"/>
                    </a:lnTo>
                    <a:lnTo>
                      <a:pt x="1134" y="472"/>
                    </a:lnTo>
                    <a:lnTo>
                      <a:pt x="1134" y="492"/>
                    </a:lnTo>
                    <a:lnTo>
                      <a:pt x="1130" y="520"/>
                    </a:lnTo>
                    <a:lnTo>
                      <a:pt x="1114" y="540"/>
                    </a:lnTo>
                    <a:lnTo>
                      <a:pt x="1094" y="561"/>
                    </a:lnTo>
                    <a:lnTo>
                      <a:pt x="1090" y="573"/>
                    </a:lnTo>
                    <a:lnTo>
                      <a:pt x="1086" y="589"/>
                    </a:lnTo>
                    <a:lnTo>
                      <a:pt x="1086" y="597"/>
                    </a:lnTo>
                    <a:lnTo>
                      <a:pt x="1086" y="605"/>
                    </a:lnTo>
                    <a:lnTo>
                      <a:pt x="1086" y="625"/>
                    </a:lnTo>
                    <a:lnTo>
                      <a:pt x="1086" y="645"/>
                    </a:lnTo>
                    <a:lnTo>
                      <a:pt x="1086" y="662"/>
                    </a:lnTo>
                    <a:lnTo>
                      <a:pt x="1086" y="682"/>
                    </a:lnTo>
                    <a:lnTo>
                      <a:pt x="1090" y="682"/>
                    </a:lnTo>
                    <a:lnTo>
                      <a:pt x="1090" y="690"/>
                    </a:lnTo>
                    <a:lnTo>
                      <a:pt x="1090" y="698"/>
                    </a:lnTo>
                    <a:lnTo>
                      <a:pt x="1090" y="702"/>
                    </a:lnTo>
                    <a:lnTo>
                      <a:pt x="1086" y="714"/>
                    </a:lnTo>
                    <a:lnTo>
                      <a:pt x="1082" y="714"/>
                    </a:lnTo>
                    <a:lnTo>
                      <a:pt x="1074" y="714"/>
                    </a:lnTo>
                    <a:lnTo>
                      <a:pt x="1070" y="726"/>
                    </a:lnTo>
                    <a:lnTo>
                      <a:pt x="1065" y="730"/>
                    </a:lnTo>
                    <a:lnTo>
                      <a:pt x="1045" y="738"/>
                    </a:lnTo>
                    <a:lnTo>
                      <a:pt x="1041" y="742"/>
                    </a:lnTo>
                    <a:lnTo>
                      <a:pt x="1033" y="742"/>
                    </a:lnTo>
                    <a:lnTo>
                      <a:pt x="1017" y="742"/>
                    </a:lnTo>
                    <a:lnTo>
                      <a:pt x="1009" y="738"/>
                    </a:lnTo>
                    <a:lnTo>
                      <a:pt x="993" y="738"/>
                    </a:lnTo>
                    <a:lnTo>
                      <a:pt x="989" y="742"/>
                    </a:lnTo>
                    <a:lnTo>
                      <a:pt x="985" y="742"/>
                    </a:lnTo>
                    <a:lnTo>
                      <a:pt x="981" y="738"/>
                    </a:lnTo>
                    <a:lnTo>
                      <a:pt x="973" y="734"/>
                    </a:lnTo>
                    <a:lnTo>
                      <a:pt x="969" y="726"/>
                    </a:lnTo>
                    <a:lnTo>
                      <a:pt x="965" y="726"/>
                    </a:lnTo>
                    <a:lnTo>
                      <a:pt x="953" y="722"/>
                    </a:lnTo>
                    <a:lnTo>
                      <a:pt x="948" y="714"/>
                    </a:lnTo>
                    <a:lnTo>
                      <a:pt x="940" y="702"/>
                    </a:lnTo>
                    <a:lnTo>
                      <a:pt x="928" y="698"/>
                    </a:lnTo>
                    <a:lnTo>
                      <a:pt x="900" y="698"/>
                    </a:lnTo>
                    <a:lnTo>
                      <a:pt x="900" y="694"/>
                    </a:lnTo>
                    <a:lnTo>
                      <a:pt x="900" y="686"/>
                    </a:lnTo>
                    <a:lnTo>
                      <a:pt x="880" y="686"/>
                    </a:lnTo>
                    <a:lnTo>
                      <a:pt x="860" y="674"/>
                    </a:lnTo>
                    <a:lnTo>
                      <a:pt x="840" y="674"/>
                    </a:lnTo>
                    <a:lnTo>
                      <a:pt x="823" y="674"/>
                    </a:lnTo>
                    <a:lnTo>
                      <a:pt x="811" y="682"/>
                    </a:lnTo>
                    <a:lnTo>
                      <a:pt x="799" y="690"/>
                    </a:lnTo>
                    <a:lnTo>
                      <a:pt x="795" y="694"/>
                    </a:lnTo>
                    <a:lnTo>
                      <a:pt x="791" y="702"/>
                    </a:lnTo>
                    <a:lnTo>
                      <a:pt x="783" y="714"/>
                    </a:lnTo>
                    <a:lnTo>
                      <a:pt x="771" y="726"/>
                    </a:lnTo>
                    <a:lnTo>
                      <a:pt x="763" y="734"/>
                    </a:lnTo>
                    <a:lnTo>
                      <a:pt x="759" y="738"/>
                    </a:lnTo>
                    <a:lnTo>
                      <a:pt x="755" y="738"/>
                    </a:lnTo>
                    <a:lnTo>
                      <a:pt x="747" y="738"/>
                    </a:lnTo>
                    <a:lnTo>
                      <a:pt x="739" y="762"/>
                    </a:lnTo>
                    <a:lnTo>
                      <a:pt x="731" y="779"/>
                    </a:lnTo>
                    <a:lnTo>
                      <a:pt x="723" y="787"/>
                    </a:lnTo>
                    <a:lnTo>
                      <a:pt x="715" y="791"/>
                    </a:lnTo>
                    <a:lnTo>
                      <a:pt x="715" y="787"/>
                    </a:lnTo>
                    <a:lnTo>
                      <a:pt x="706" y="787"/>
                    </a:lnTo>
                    <a:lnTo>
                      <a:pt x="698" y="787"/>
                    </a:lnTo>
                    <a:lnTo>
                      <a:pt x="686" y="779"/>
                    </a:lnTo>
                    <a:lnTo>
                      <a:pt x="686" y="774"/>
                    </a:lnTo>
                    <a:lnTo>
                      <a:pt x="686" y="770"/>
                    </a:lnTo>
                    <a:lnTo>
                      <a:pt x="682" y="762"/>
                    </a:lnTo>
                    <a:lnTo>
                      <a:pt x="670" y="750"/>
                    </a:lnTo>
                    <a:lnTo>
                      <a:pt x="662" y="750"/>
                    </a:lnTo>
                    <a:lnTo>
                      <a:pt x="646" y="742"/>
                    </a:lnTo>
                    <a:lnTo>
                      <a:pt x="630" y="742"/>
                    </a:lnTo>
                    <a:lnTo>
                      <a:pt x="622" y="750"/>
                    </a:lnTo>
                    <a:lnTo>
                      <a:pt x="618" y="766"/>
                    </a:lnTo>
                    <a:lnTo>
                      <a:pt x="614" y="770"/>
                    </a:lnTo>
                    <a:lnTo>
                      <a:pt x="606" y="774"/>
                    </a:lnTo>
                    <a:lnTo>
                      <a:pt x="606" y="787"/>
                    </a:lnTo>
                    <a:lnTo>
                      <a:pt x="602" y="787"/>
                    </a:lnTo>
                    <a:lnTo>
                      <a:pt x="569" y="791"/>
                    </a:lnTo>
                    <a:lnTo>
                      <a:pt x="533" y="803"/>
                    </a:lnTo>
                    <a:lnTo>
                      <a:pt x="521" y="807"/>
                    </a:lnTo>
                    <a:lnTo>
                      <a:pt x="501" y="811"/>
                    </a:lnTo>
                    <a:lnTo>
                      <a:pt x="493" y="819"/>
                    </a:lnTo>
                    <a:lnTo>
                      <a:pt x="477" y="827"/>
                    </a:lnTo>
                    <a:lnTo>
                      <a:pt x="460" y="827"/>
                    </a:lnTo>
                    <a:lnTo>
                      <a:pt x="440" y="835"/>
                    </a:lnTo>
                    <a:lnTo>
                      <a:pt x="416" y="835"/>
                    </a:lnTo>
                    <a:lnTo>
                      <a:pt x="396" y="83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43" name="Freeform 51"/>
              <p:cNvSpPr>
                <a:spLocks/>
              </p:cNvSpPr>
              <p:nvPr/>
            </p:nvSpPr>
            <p:spPr bwMode="auto">
              <a:xfrm>
                <a:off x="3665623" y="2409486"/>
                <a:ext cx="714376" cy="812318"/>
              </a:xfrm>
              <a:custGeom>
                <a:avLst/>
                <a:gdLst>
                  <a:gd name="T0" fmla="*/ 2147483647 w 795"/>
                  <a:gd name="T1" fmla="*/ 2147483647 h 912"/>
                  <a:gd name="T2" fmla="*/ 2147483647 w 795"/>
                  <a:gd name="T3" fmla="*/ 2147483647 h 912"/>
                  <a:gd name="T4" fmla="*/ 2147483647 w 795"/>
                  <a:gd name="T5" fmla="*/ 2147483647 h 912"/>
                  <a:gd name="T6" fmla="*/ 2147483647 w 795"/>
                  <a:gd name="T7" fmla="*/ 2147483647 h 912"/>
                  <a:gd name="T8" fmla="*/ 2147483647 w 795"/>
                  <a:gd name="T9" fmla="*/ 2147483647 h 912"/>
                  <a:gd name="T10" fmla="*/ 2147483647 w 795"/>
                  <a:gd name="T11" fmla="*/ 2147483647 h 912"/>
                  <a:gd name="T12" fmla="*/ 2147483647 w 795"/>
                  <a:gd name="T13" fmla="*/ 2147483647 h 912"/>
                  <a:gd name="T14" fmla="*/ 2147483647 w 795"/>
                  <a:gd name="T15" fmla="*/ 2147483647 h 912"/>
                  <a:gd name="T16" fmla="*/ 2147483647 w 795"/>
                  <a:gd name="T17" fmla="*/ 2147483647 h 912"/>
                  <a:gd name="T18" fmla="*/ 2147483647 w 795"/>
                  <a:gd name="T19" fmla="*/ 2147483647 h 912"/>
                  <a:gd name="T20" fmla="*/ 2147483647 w 795"/>
                  <a:gd name="T21" fmla="*/ 2147483647 h 912"/>
                  <a:gd name="T22" fmla="*/ 2147483647 w 795"/>
                  <a:gd name="T23" fmla="*/ 2147483647 h 912"/>
                  <a:gd name="T24" fmla="*/ 2147483647 w 795"/>
                  <a:gd name="T25" fmla="*/ 2147483647 h 912"/>
                  <a:gd name="T26" fmla="*/ 2147483647 w 795"/>
                  <a:gd name="T27" fmla="*/ 2147483647 h 912"/>
                  <a:gd name="T28" fmla="*/ 2147483647 w 795"/>
                  <a:gd name="T29" fmla="*/ 2147483647 h 912"/>
                  <a:gd name="T30" fmla="*/ 2147483647 w 795"/>
                  <a:gd name="T31" fmla="*/ 2147483647 h 912"/>
                  <a:gd name="T32" fmla="*/ 2147483647 w 795"/>
                  <a:gd name="T33" fmla="*/ 2147483647 h 912"/>
                  <a:gd name="T34" fmla="*/ 2147483647 w 795"/>
                  <a:gd name="T35" fmla="*/ 2147483647 h 912"/>
                  <a:gd name="T36" fmla="*/ 0 w 795"/>
                  <a:gd name="T37" fmla="*/ 2147483647 h 912"/>
                  <a:gd name="T38" fmla="*/ 2147483647 w 795"/>
                  <a:gd name="T39" fmla="*/ 2147483647 h 912"/>
                  <a:gd name="T40" fmla="*/ 2147483647 w 795"/>
                  <a:gd name="T41" fmla="*/ 2147483647 h 912"/>
                  <a:gd name="T42" fmla="*/ 2147483647 w 795"/>
                  <a:gd name="T43" fmla="*/ 2147483647 h 912"/>
                  <a:gd name="T44" fmla="*/ 2147483647 w 795"/>
                  <a:gd name="T45" fmla="*/ 2147483647 h 912"/>
                  <a:gd name="T46" fmla="*/ 2147483647 w 795"/>
                  <a:gd name="T47" fmla="*/ 2147483647 h 912"/>
                  <a:gd name="T48" fmla="*/ 2147483647 w 795"/>
                  <a:gd name="T49" fmla="*/ 2147483647 h 912"/>
                  <a:gd name="T50" fmla="*/ 2147483647 w 795"/>
                  <a:gd name="T51" fmla="*/ 2147483647 h 912"/>
                  <a:gd name="T52" fmla="*/ 2147483647 w 795"/>
                  <a:gd name="T53" fmla="*/ 2147483647 h 912"/>
                  <a:gd name="T54" fmla="*/ 2147483647 w 795"/>
                  <a:gd name="T55" fmla="*/ 0 h 912"/>
                  <a:gd name="T56" fmla="*/ 2147483647 w 795"/>
                  <a:gd name="T57" fmla="*/ 2147483647 h 912"/>
                  <a:gd name="T58" fmla="*/ 2147483647 w 795"/>
                  <a:gd name="T59" fmla="*/ 2147483647 h 912"/>
                  <a:gd name="T60" fmla="*/ 2147483647 w 795"/>
                  <a:gd name="T61" fmla="*/ 2147483647 h 912"/>
                  <a:gd name="T62" fmla="*/ 2147483647 w 795"/>
                  <a:gd name="T63" fmla="*/ 2147483647 h 912"/>
                  <a:gd name="T64" fmla="*/ 2147483647 w 795"/>
                  <a:gd name="T65" fmla="*/ 2147483647 h 912"/>
                  <a:gd name="T66" fmla="*/ 2147483647 w 795"/>
                  <a:gd name="T67" fmla="*/ 2147483647 h 912"/>
                  <a:gd name="T68" fmla="*/ 2147483647 w 795"/>
                  <a:gd name="T69" fmla="*/ 2147483647 h 912"/>
                  <a:gd name="T70" fmla="*/ 2147483647 w 795"/>
                  <a:gd name="T71" fmla="*/ 2147483647 h 912"/>
                  <a:gd name="T72" fmla="*/ 2147483647 w 795"/>
                  <a:gd name="T73" fmla="*/ 2147483647 h 912"/>
                  <a:gd name="T74" fmla="*/ 2147483647 w 795"/>
                  <a:gd name="T75" fmla="*/ 2147483647 h 912"/>
                  <a:gd name="T76" fmla="*/ 2147483647 w 795"/>
                  <a:gd name="T77" fmla="*/ 2147483647 h 912"/>
                  <a:gd name="T78" fmla="*/ 2147483647 w 795"/>
                  <a:gd name="T79" fmla="*/ 2147483647 h 912"/>
                  <a:gd name="T80" fmla="*/ 2147483647 w 795"/>
                  <a:gd name="T81" fmla="*/ 2147483647 h 912"/>
                  <a:gd name="T82" fmla="*/ 2147483647 w 795"/>
                  <a:gd name="T83" fmla="*/ 2147483647 h 912"/>
                  <a:gd name="T84" fmla="*/ 2147483647 w 795"/>
                  <a:gd name="T85" fmla="*/ 2147483647 h 912"/>
                  <a:gd name="T86" fmla="*/ 2147483647 w 795"/>
                  <a:gd name="T87" fmla="*/ 2147483647 h 912"/>
                  <a:gd name="T88" fmla="*/ 2147483647 w 795"/>
                  <a:gd name="T89" fmla="*/ 2147483647 h 912"/>
                  <a:gd name="T90" fmla="*/ 2147483647 w 795"/>
                  <a:gd name="T91" fmla="*/ 2147483647 h 912"/>
                  <a:gd name="T92" fmla="*/ 2147483647 w 795"/>
                  <a:gd name="T93" fmla="*/ 2147483647 h 912"/>
                  <a:gd name="T94" fmla="*/ 2147483647 w 795"/>
                  <a:gd name="T95" fmla="*/ 2147483647 h 912"/>
                  <a:gd name="T96" fmla="*/ 2147483647 w 795"/>
                  <a:gd name="T97" fmla="*/ 2147483647 h 912"/>
                  <a:gd name="T98" fmla="*/ 2147483647 w 795"/>
                  <a:gd name="T99" fmla="*/ 2147483647 h 912"/>
                  <a:gd name="T100" fmla="*/ 2147483647 w 795"/>
                  <a:gd name="T101" fmla="*/ 2147483647 h 912"/>
                  <a:gd name="T102" fmla="*/ 2147483647 w 795"/>
                  <a:gd name="T103" fmla="*/ 2147483647 h 912"/>
                  <a:gd name="T104" fmla="*/ 2147483647 w 795"/>
                  <a:gd name="T105" fmla="*/ 2147483647 h 912"/>
                  <a:gd name="T106" fmla="*/ 2147483647 w 795"/>
                  <a:gd name="T107" fmla="*/ 2147483647 h 912"/>
                  <a:gd name="T108" fmla="*/ 2147483647 w 795"/>
                  <a:gd name="T109" fmla="*/ 2147483647 h 912"/>
                  <a:gd name="T110" fmla="*/ 2147483647 w 795"/>
                  <a:gd name="T111" fmla="*/ 2147483647 h 912"/>
                  <a:gd name="T112" fmla="*/ 2147483647 w 795"/>
                  <a:gd name="T113" fmla="*/ 2147483647 h 912"/>
                  <a:gd name="T114" fmla="*/ 2147483647 w 795"/>
                  <a:gd name="T115" fmla="*/ 2147483647 h 912"/>
                  <a:gd name="T116" fmla="*/ 2147483647 w 795"/>
                  <a:gd name="T117" fmla="*/ 2147483647 h 912"/>
                  <a:gd name="T118" fmla="*/ 2147483647 w 795"/>
                  <a:gd name="T119" fmla="*/ 2147483647 h 912"/>
                  <a:gd name="T120" fmla="*/ 2147483647 w 795"/>
                  <a:gd name="T121" fmla="*/ 2147483647 h 91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95"/>
                  <a:gd name="T184" fmla="*/ 0 h 912"/>
                  <a:gd name="T185" fmla="*/ 795 w 795"/>
                  <a:gd name="T186" fmla="*/ 912 h 91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95" h="912">
                    <a:moveTo>
                      <a:pt x="327" y="912"/>
                    </a:moveTo>
                    <a:lnTo>
                      <a:pt x="319" y="888"/>
                    </a:lnTo>
                    <a:lnTo>
                      <a:pt x="315" y="868"/>
                    </a:lnTo>
                    <a:lnTo>
                      <a:pt x="315" y="848"/>
                    </a:lnTo>
                    <a:lnTo>
                      <a:pt x="315" y="835"/>
                    </a:lnTo>
                    <a:lnTo>
                      <a:pt x="319" y="823"/>
                    </a:lnTo>
                    <a:lnTo>
                      <a:pt x="327" y="811"/>
                    </a:lnTo>
                    <a:lnTo>
                      <a:pt x="327" y="795"/>
                    </a:lnTo>
                    <a:lnTo>
                      <a:pt x="327" y="779"/>
                    </a:lnTo>
                    <a:lnTo>
                      <a:pt x="327" y="771"/>
                    </a:lnTo>
                    <a:lnTo>
                      <a:pt x="319" y="755"/>
                    </a:lnTo>
                    <a:lnTo>
                      <a:pt x="311" y="747"/>
                    </a:lnTo>
                    <a:lnTo>
                      <a:pt x="307" y="739"/>
                    </a:lnTo>
                    <a:lnTo>
                      <a:pt x="286" y="739"/>
                    </a:lnTo>
                    <a:lnTo>
                      <a:pt x="274" y="735"/>
                    </a:lnTo>
                    <a:lnTo>
                      <a:pt x="266" y="726"/>
                    </a:lnTo>
                    <a:lnTo>
                      <a:pt x="254" y="722"/>
                    </a:lnTo>
                    <a:lnTo>
                      <a:pt x="254" y="694"/>
                    </a:lnTo>
                    <a:lnTo>
                      <a:pt x="254" y="670"/>
                    </a:lnTo>
                    <a:lnTo>
                      <a:pt x="266" y="646"/>
                    </a:lnTo>
                    <a:lnTo>
                      <a:pt x="274" y="642"/>
                    </a:lnTo>
                    <a:lnTo>
                      <a:pt x="278" y="642"/>
                    </a:lnTo>
                    <a:lnTo>
                      <a:pt x="286" y="634"/>
                    </a:lnTo>
                    <a:lnTo>
                      <a:pt x="291" y="626"/>
                    </a:lnTo>
                    <a:lnTo>
                      <a:pt x="303" y="618"/>
                    </a:lnTo>
                    <a:lnTo>
                      <a:pt x="307" y="609"/>
                    </a:lnTo>
                    <a:lnTo>
                      <a:pt x="311" y="593"/>
                    </a:lnTo>
                    <a:lnTo>
                      <a:pt x="311" y="573"/>
                    </a:lnTo>
                    <a:lnTo>
                      <a:pt x="311" y="549"/>
                    </a:lnTo>
                    <a:lnTo>
                      <a:pt x="303" y="549"/>
                    </a:lnTo>
                    <a:lnTo>
                      <a:pt x="286" y="549"/>
                    </a:lnTo>
                    <a:lnTo>
                      <a:pt x="282" y="545"/>
                    </a:lnTo>
                    <a:lnTo>
                      <a:pt x="274" y="541"/>
                    </a:lnTo>
                    <a:lnTo>
                      <a:pt x="258" y="541"/>
                    </a:lnTo>
                    <a:lnTo>
                      <a:pt x="242" y="537"/>
                    </a:lnTo>
                    <a:lnTo>
                      <a:pt x="234" y="529"/>
                    </a:lnTo>
                    <a:lnTo>
                      <a:pt x="226" y="521"/>
                    </a:lnTo>
                    <a:lnTo>
                      <a:pt x="218" y="501"/>
                    </a:lnTo>
                    <a:lnTo>
                      <a:pt x="206" y="484"/>
                    </a:lnTo>
                    <a:lnTo>
                      <a:pt x="198" y="476"/>
                    </a:lnTo>
                    <a:lnTo>
                      <a:pt x="190" y="468"/>
                    </a:lnTo>
                    <a:lnTo>
                      <a:pt x="186" y="448"/>
                    </a:lnTo>
                    <a:lnTo>
                      <a:pt x="161" y="416"/>
                    </a:lnTo>
                    <a:lnTo>
                      <a:pt x="149" y="408"/>
                    </a:lnTo>
                    <a:lnTo>
                      <a:pt x="137" y="388"/>
                    </a:lnTo>
                    <a:lnTo>
                      <a:pt x="113" y="355"/>
                    </a:lnTo>
                    <a:lnTo>
                      <a:pt x="85" y="323"/>
                    </a:lnTo>
                    <a:lnTo>
                      <a:pt x="61" y="303"/>
                    </a:lnTo>
                    <a:lnTo>
                      <a:pt x="44" y="291"/>
                    </a:lnTo>
                    <a:lnTo>
                      <a:pt x="36" y="287"/>
                    </a:lnTo>
                    <a:lnTo>
                      <a:pt x="28" y="279"/>
                    </a:lnTo>
                    <a:lnTo>
                      <a:pt x="20" y="271"/>
                    </a:lnTo>
                    <a:lnTo>
                      <a:pt x="4" y="267"/>
                    </a:lnTo>
                    <a:lnTo>
                      <a:pt x="4" y="263"/>
                    </a:lnTo>
                    <a:lnTo>
                      <a:pt x="0" y="254"/>
                    </a:lnTo>
                    <a:lnTo>
                      <a:pt x="0" y="246"/>
                    </a:lnTo>
                    <a:lnTo>
                      <a:pt x="0" y="238"/>
                    </a:lnTo>
                    <a:lnTo>
                      <a:pt x="4" y="230"/>
                    </a:lnTo>
                    <a:lnTo>
                      <a:pt x="8" y="226"/>
                    </a:lnTo>
                    <a:lnTo>
                      <a:pt x="24" y="222"/>
                    </a:lnTo>
                    <a:lnTo>
                      <a:pt x="32" y="222"/>
                    </a:lnTo>
                    <a:lnTo>
                      <a:pt x="36" y="230"/>
                    </a:lnTo>
                    <a:lnTo>
                      <a:pt x="36" y="234"/>
                    </a:lnTo>
                    <a:lnTo>
                      <a:pt x="48" y="234"/>
                    </a:lnTo>
                    <a:lnTo>
                      <a:pt x="52" y="238"/>
                    </a:lnTo>
                    <a:lnTo>
                      <a:pt x="61" y="198"/>
                    </a:lnTo>
                    <a:lnTo>
                      <a:pt x="73" y="137"/>
                    </a:lnTo>
                    <a:lnTo>
                      <a:pt x="77" y="125"/>
                    </a:lnTo>
                    <a:lnTo>
                      <a:pt x="85" y="113"/>
                    </a:lnTo>
                    <a:lnTo>
                      <a:pt x="89" y="113"/>
                    </a:lnTo>
                    <a:lnTo>
                      <a:pt x="97" y="109"/>
                    </a:lnTo>
                    <a:lnTo>
                      <a:pt x="105" y="109"/>
                    </a:lnTo>
                    <a:lnTo>
                      <a:pt x="113" y="101"/>
                    </a:lnTo>
                    <a:lnTo>
                      <a:pt x="125" y="101"/>
                    </a:lnTo>
                    <a:lnTo>
                      <a:pt x="133" y="101"/>
                    </a:lnTo>
                    <a:lnTo>
                      <a:pt x="141" y="89"/>
                    </a:lnTo>
                    <a:lnTo>
                      <a:pt x="149" y="85"/>
                    </a:lnTo>
                    <a:lnTo>
                      <a:pt x="157" y="77"/>
                    </a:lnTo>
                    <a:lnTo>
                      <a:pt x="161" y="69"/>
                    </a:lnTo>
                    <a:lnTo>
                      <a:pt x="161" y="41"/>
                    </a:lnTo>
                    <a:lnTo>
                      <a:pt x="161" y="8"/>
                    </a:lnTo>
                    <a:lnTo>
                      <a:pt x="165" y="4"/>
                    </a:lnTo>
                    <a:lnTo>
                      <a:pt x="169" y="0"/>
                    </a:lnTo>
                    <a:lnTo>
                      <a:pt x="174" y="0"/>
                    </a:lnTo>
                    <a:lnTo>
                      <a:pt x="178" y="0"/>
                    </a:lnTo>
                    <a:lnTo>
                      <a:pt x="190" y="16"/>
                    </a:lnTo>
                    <a:lnTo>
                      <a:pt x="194" y="24"/>
                    </a:lnTo>
                    <a:lnTo>
                      <a:pt x="214" y="49"/>
                    </a:lnTo>
                    <a:lnTo>
                      <a:pt x="230" y="69"/>
                    </a:lnTo>
                    <a:lnTo>
                      <a:pt x="238" y="69"/>
                    </a:lnTo>
                    <a:lnTo>
                      <a:pt x="254" y="73"/>
                    </a:lnTo>
                    <a:lnTo>
                      <a:pt x="278" y="89"/>
                    </a:lnTo>
                    <a:lnTo>
                      <a:pt x="307" y="101"/>
                    </a:lnTo>
                    <a:lnTo>
                      <a:pt x="327" y="125"/>
                    </a:lnTo>
                    <a:lnTo>
                      <a:pt x="347" y="154"/>
                    </a:lnTo>
                    <a:lnTo>
                      <a:pt x="351" y="170"/>
                    </a:lnTo>
                    <a:lnTo>
                      <a:pt x="371" y="190"/>
                    </a:lnTo>
                    <a:lnTo>
                      <a:pt x="379" y="198"/>
                    </a:lnTo>
                    <a:lnTo>
                      <a:pt x="391" y="206"/>
                    </a:lnTo>
                    <a:lnTo>
                      <a:pt x="395" y="222"/>
                    </a:lnTo>
                    <a:lnTo>
                      <a:pt x="399" y="234"/>
                    </a:lnTo>
                    <a:lnTo>
                      <a:pt x="416" y="250"/>
                    </a:lnTo>
                    <a:lnTo>
                      <a:pt x="428" y="275"/>
                    </a:lnTo>
                    <a:lnTo>
                      <a:pt x="452" y="283"/>
                    </a:lnTo>
                    <a:lnTo>
                      <a:pt x="472" y="287"/>
                    </a:lnTo>
                    <a:lnTo>
                      <a:pt x="484" y="303"/>
                    </a:lnTo>
                    <a:lnTo>
                      <a:pt x="488" y="303"/>
                    </a:lnTo>
                    <a:lnTo>
                      <a:pt x="496" y="307"/>
                    </a:lnTo>
                    <a:lnTo>
                      <a:pt x="512" y="307"/>
                    </a:lnTo>
                    <a:lnTo>
                      <a:pt x="524" y="323"/>
                    </a:lnTo>
                    <a:lnTo>
                      <a:pt x="533" y="331"/>
                    </a:lnTo>
                    <a:lnTo>
                      <a:pt x="537" y="363"/>
                    </a:lnTo>
                    <a:lnTo>
                      <a:pt x="541" y="392"/>
                    </a:lnTo>
                    <a:lnTo>
                      <a:pt x="569" y="404"/>
                    </a:lnTo>
                    <a:lnTo>
                      <a:pt x="593" y="412"/>
                    </a:lnTo>
                    <a:lnTo>
                      <a:pt x="613" y="432"/>
                    </a:lnTo>
                    <a:lnTo>
                      <a:pt x="629" y="452"/>
                    </a:lnTo>
                    <a:lnTo>
                      <a:pt x="650" y="464"/>
                    </a:lnTo>
                    <a:lnTo>
                      <a:pt x="666" y="472"/>
                    </a:lnTo>
                    <a:lnTo>
                      <a:pt x="690" y="472"/>
                    </a:lnTo>
                    <a:lnTo>
                      <a:pt x="718" y="472"/>
                    </a:lnTo>
                    <a:lnTo>
                      <a:pt x="738" y="476"/>
                    </a:lnTo>
                    <a:lnTo>
                      <a:pt x="754" y="480"/>
                    </a:lnTo>
                    <a:lnTo>
                      <a:pt x="783" y="492"/>
                    </a:lnTo>
                    <a:lnTo>
                      <a:pt x="795" y="501"/>
                    </a:lnTo>
                    <a:lnTo>
                      <a:pt x="795" y="513"/>
                    </a:lnTo>
                    <a:lnTo>
                      <a:pt x="795" y="525"/>
                    </a:lnTo>
                    <a:lnTo>
                      <a:pt x="754" y="525"/>
                    </a:lnTo>
                    <a:lnTo>
                      <a:pt x="718" y="529"/>
                    </a:lnTo>
                    <a:lnTo>
                      <a:pt x="702" y="533"/>
                    </a:lnTo>
                    <a:lnTo>
                      <a:pt x="690" y="537"/>
                    </a:lnTo>
                    <a:lnTo>
                      <a:pt x="686" y="541"/>
                    </a:lnTo>
                    <a:lnTo>
                      <a:pt x="682" y="549"/>
                    </a:lnTo>
                    <a:lnTo>
                      <a:pt x="682" y="569"/>
                    </a:lnTo>
                    <a:lnTo>
                      <a:pt x="686" y="581"/>
                    </a:lnTo>
                    <a:lnTo>
                      <a:pt x="702" y="593"/>
                    </a:lnTo>
                    <a:lnTo>
                      <a:pt x="714" y="597"/>
                    </a:lnTo>
                    <a:lnTo>
                      <a:pt x="734" y="614"/>
                    </a:lnTo>
                    <a:lnTo>
                      <a:pt x="754" y="626"/>
                    </a:lnTo>
                    <a:lnTo>
                      <a:pt x="754" y="630"/>
                    </a:lnTo>
                    <a:lnTo>
                      <a:pt x="763" y="634"/>
                    </a:lnTo>
                    <a:lnTo>
                      <a:pt x="779" y="646"/>
                    </a:lnTo>
                    <a:lnTo>
                      <a:pt x="779" y="654"/>
                    </a:lnTo>
                    <a:lnTo>
                      <a:pt x="775" y="658"/>
                    </a:lnTo>
                    <a:lnTo>
                      <a:pt x="754" y="662"/>
                    </a:lnTo>
                    <a:lnTo>
                      <a:pt x="742" y="662"/>
                    </a:lnTo>
                    <a:lnTo>
                      <a:pt x="734" y="666"/>
                    </a:lnTo>
                    <a:lnTo>
                      <a:pt x="726" y="670"/>
                    </a:lnTo>
                    <a:lnTo>
                      <a:pt x="698" y="706"/>
                    </a:lnTo>
                    <a:lnTo>
                      <a:pt x="686" y="722"/>
                    </a:lnTo>
                    <a:lnTo>
                      <a:pt x="678" y="726"/>
                    </a:lnTo>
                    <a:lnTo>
                      <a:pt x="666" y="731"/>
                    </a:lnTo>
                    <a:lnTo>
                      <a:pt x="650" y="731"/>
                    </a:lnTo>
                    <a:lnTo>
                      <a:pt x="633" y="735"/>
                    </a:lnTo>
                    <a:lnTo>
                      <a:pt x="617" y="751"/>
                    </a:lnTo>
                    <a:lnTo>
                      <a:pt x="593" y="771"/>
                    </a:lnTo>
                    <a:lnTo>
                      <a:pt x="573" y="779"/>
                    </a:lnTo>
                    <a:lnTo>
                      <a:pt x="561" y="787"/>
                    </a:lnTo>
                    <a:lnTo>
                      <a:pt x="541" y="787"/>
                    </a:lnTo>
                    <a:lnTo>
                      <a:pt x="524" y="787"/>
                    </a:lnTo>
                    <a:lnTo>
                      <a:pt x="492" y="795"/>
                    </a:lnTo>
                    <a:lnTo>
                      <a:pt x="476" y="803"/>
                    </a:lnTo>
                    <a:lnTo>
                      <a:pt x="472" y="815"/>
                    </a:lnTo>
                    <a:lnTo>
                      <a:pt x="472" y="823"/>
                    </a:lnTo>
                    <a:lnTo>
                      <a:pt x="452" y="835"/>
                    </a:lnTo>
                    <a:lnTo>
                      <a:pt x="448" y="843"/>
                    </a:lnTo>
                    <a:lnTo>
                      <a:pt x="448" y="860"/>
                    </a:lnTo>
                    <a:lnTo>
                      <a:pt x="444" y="868"/>
                    </a:lnTo>
                    <a:lnTo>
                      <a:pt x="444" y="872"/>
                    </a:lnTo>
                    <a:lnTo>
                      <a:pt x="436" y="876"/>
                    </a:lnTo>
                    <a:lnTo>
                      <a:pt x="428" y="876"/>
                    </a:lnTo>
                    <a:lnTo>
                      <a:pt x="420" y="876"/>
                    </a:lnTo>
                    <a:lnTo>
                      <a:pt x="403" y="864"/>
                    </a:lnTo>
                    <a:lnTo>
                      <a:pt x="383" y="848"/>
                    </a:lnTo>
                    <a:lnTo>
                      <a:pt x="379" y="839"/>
                    </a:lnTo>
                    <a:lnTo>
                      <a:pt x="371" y="827"/>
                    </a:lnTo>
                    <a:lnTo>
                      <a:pt x="363" y="827"/>
                    </a:lnTo>
                    <a:lnTo>
                      <a:pt x="351" y="827"/>
                    </a:lnTo>
                    <a:lnTo>
                      <a:pt x="343" y="835"/>
                    </a:lnTo>
                    <a:lnTo>
                      <a:pt x="339" y="839"/>
                    </a:lnTo>
                    <a:lnTo>
                      <a:pt x="335" y="872"/>
                    </a:lnTo>
                    <a:lnTo>
                      <a:pt x="335" y="904"/>
                    </a:lnTo>
                    <a:lnTo>
                      <a:pt x="331" y="908"/>
                    </a:lnTo>
                    <a:lnTo>
                      <a:pt x="327" y="91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44" name="Freeform 52"/>
              <p:cNvSpPr>
                <a:spLocks/>
              </p:cNvSpPr>
              <p:nvPr/>
            </p:nvSpPr>
            <p:spPr bwMode="auto">
              <a:xfrm>
                <a:off x="2303548" y="1687968"/>
                <a:ext cx="1130301" cy="1263064"/>
              </a:xfrm>
              <a:custGeom>
                <a:avLst/>
                <a:gdLst>
                  <a:gd name="T0" fmla="*/ 436047059 w 1259"/>
                  <a:gd name="T1" fmla="*/ 1037556013 h 1420"/>
                  <a:gd name="T2" fmla="*/ 452166621 w 1259"/>
                  <a:gd name="T3" fmla="*/ 973087626 h 1420"/>
                  <a:gd name="T4" fmla="*/ 429599234 w 1259"/>
                  <a:gd name="T5" fmla="*/ 844910049 h 1420"/>
                  <a:gd name="T6" fmla="*/ 403000835 w 1259"/>
                  <a:gd name="T7" fmla="*/ 777408357 h 1420"/>
                  <a:gd name="T8" fmla="*/ 260338895 w 1259"/>
                  <a:gd name="T9" fmla="*/ 765273398 h 1420"/>
                  <a:gd name="T10" fmla="*/ 207948242 w 1259"/>
                  <a:gd name="T11" fmla="*/ 731901824 h 1420"/>
                  <a:gd name="T12" fmla="*/ 240994523 w 1259"/>
                  <a:gd name="T13" fmla="*/ 706872490 h 1420"/>
                  <a:gd name="T14" fmla="*/ 244218435 w 1259"/>
                  <a:gd name="T15" fmla="*/ 643163518 h 1420"/>
                  <a:gd name="T16" fmla="*/ 204724330 w 1259"/>
                  <a:gd name="T17" fmla="*/ 602965920 h 1420"/>
                  <a:gd name="T18" fmla="*/ 127348636 w 1259"/>
                  <a:gd name="T19" fmla="*/ 581729306 h 1420"/>
                  <a:gd name="T20" fmla="*/ 78181924 w 1259"/>
                  <a:gd name="T21" fmla="*/ 596897570 h 1420"/>
                  <a:gd name="T22" fmla="*/ 49165801 w 1259"/>
                  <a:gd name="T23" fmla="*/ 569593476 h 1420"/>
                  <a:gd name="T24" fmla="*/ 33046238 w 1259"/>
                  <a:gd name="T25" fmla="*/ 544565013 h 1420"/>
                  <a:gd name="T26" fmla="*/ 3223913 w 1259"/>
                  <a:gd name="T27" fmla="*/ 526362574 h 1420"/>
                  <a:gd name="T28" fmla="*/ 3223913 w 1259"/>
                  <a:gd name="T29" fmla="*/ 492991000 h 1420"/>
                  <a:gd name="T30" fmla="*/ 55614523 w 1259"/>
                  <a:gd name="T31" fmla="*/ 407285890 h 1420"/>
                  <a:gd name="T32" fmla="*/ 84629749 w 1259"/>
                  <a:gd name="T33" fmla="*/ 373914316 h 1420"/>
                  <a:gd name="T34" fmla="*/ 133796461 w 1259"/>
                  <a:gd name="T35" fmla="*/ 357986637 h 1420"/>
                  <a:gd name="T36" fmla="*/ 133796461 w 1259"/>
                  <a:gd name="T37" fmla="*/ 330682543 h 1420"/>
                  <a:gd name="T38" fmla="*/ 191828680 w 1259"/>
                  <a:gd name="T39" fmla="*/ 285176010 h 1420"/>
                  <a:gd name="T40" fmla="*/ 237770610 w 1259"/>
                  <a:gd name="T41" fmla="*/ 272282507 h 1420"/>
                  <a:gd name="T42" fmla="*/ 250666260 w 1259"/>
                  <a:gd name="T43" fmla="*/ 226775919 h 1420"/>
                  <a:gd name="T44" fmla="*/ 211172155 w 1259"/>
                  <a:gd name="T45" fmla="*/ 186578321 h 1420"/>
                  <a:gd name="T46" fmla="*/ 153139936 w 1259"/>
                  <a:gd name="T47" fmla="*/ 199471825 h 1420"/>
                  <a:gd name="T48" fmla="*/ 110421946 w 1259"/>
                  <a:gd name="T49" fmla="*/ 183544146 h 1420"/>
                  <a:gd name="T50" fmla="*/ 140244286 w 1259"/>
                  <a:gd name="T51" fmla="*/ 144105093 h 1420"/>
                  <a:gd name="T52" fmla="*/ 231322729 w 1259"/>
                  <a:gd name="T53" fmla="*/ 76603374 h 1420"/>
                  <a:gd name="T54" fmla="*/ 279682369 w 1259"/>
                  <a:gd name="T55" fmla="*/ 25028469 h 1420"/>
                  <a:gd name="T56" fmla="*/ 325624244 w 1259"/>
                  <a:gd name="T57" fmla="*/ 0 h 1420"/>
                  <a:gd name="T58" fmla="*/ 357865163 w 1259"/>
                  <a:gd name="T59" fmla="*/ 9101658 h 1420"/>
                  <a:gd name="T60" fmla="*/ 335296879 w 1259"/>
                  <a:gd name="T61" fmla="*/ 76603374 h 1420"/>
                  <a:gd name="T62" fmla="*/ 325624244 w 1259"/>
                  <a:gd name="T63" fmla="*/ 122868478 h 1420"/>
                  <a:gd name="T64" fmla="*/ 364312988 w 1259"/>
                  <a:gd name="T65" fmla="*/ 122868478 h 1420"/>
                  <a:gd name="T66" fmla="*/ 393329097 w 1259"/>
                  <a:gd name="T67" fmla="*/ 85704158 h 1420"/>
                  <a:gd name="T68" fmla="*/ 416702687 w 1259"/>
                  <a:gd name="T69" fmla="*/ 67501719 h 1420"/>
                  <a:gd name="T70" fmla="*/ 445718796 w 1259"/>
                  <a:gd name="T71" fmla="*/ 150172572 h 1420"/>
                  <a:gd name="T72" fmla="*/ 442494884 w 1259"/>
                  <a:gd name="T73" fmla="*/ 189611626 h 1420"/>
                  <a:gd name="T74" fmla="*/ 477958930 w 1259"/>
                  <a:gd name="T75" fmla="*/ 269249202 h 1420"/>
                  <a:gd name="T76" fmla="*/ 585156936 w 1259"/>
                  <a:gd name="T77" fmla="*/ 300345145 h 1420"/>
                  <a:gd name="T78" fmla="*/ 608531423 w 1259"/>
                  <a:gd name="T79" fmla="*/ 278349986 h 1420"/>
                  <a:gd name="T80" fmla="*/ 631099708 w 1259"/>
                  <a:gd name="T81" fmla="*/ 309446800 h 1420"/>
                  <a:gd name="T82" fmla="*/ 660114920 w 1259"/>
                  <a:gd name="T83" fmla="*/ 370881011 h 1420"/>
                  <a:gd name="T84" fmla="*/ 702833779 w 1259"/>
                  <a:gd name="T85" fmla="*/ 437624159 h 1420"/>
                  <a:gd name="T86" fmla="*/ 754417275 w 1259"/>
                  <a:gd name="T87" fmla="*/ 446724943 h 1420"/>
                  <a:gd name="T88" fmla="*/ 810031784 w 1259"/>
                  <a:gd name="T89" fmla="*/ 455826598 h 1420"/>
                  <a:gd name="T90" fmla="*/ 829376157 w 1259"/>
                  <a:gd name="T91" fmla="*/ 455826598 h 1420"/>
                  <a:gd name="T92" fmla="*/ 851943544 w 1259"/>
                  <a:gd name="T93" fmla="*/ 440657463 h 1420"/>
                  <a:gd name="T94" fmla="*/ 884989768 w 1259"/>
                  <a:gd name="T95" fmla="*/ 486923520 h 1420"/>
                  <a:gd name="T96" fmla="*/ 936574162 w 1259"/>
                  <a:gd name="T97" fmla="*/ 486923520 h 1420"/>
                  <a:gd name="T98" fmla="*/ 959141773 w 1259"/>
                  <a:gd name="T99" fmla="*/ 492991000 h 1420"/>
                  <a:gd name="T100" fmla="*/ 949470036 w 1259"/>
                  <a:gd name="T101" fmla="*/ 560492692 h 1420"/>
                  <a:gd name="T102" fmla="*/ 962366584 w 1259"/>
                  <a:gd name="T103" fmla="*/ 627235839 h 1420"/>
                  <a:gd name="T104" fmla="*/ 985740173 w 1259"/>
                  <a:gd name="T105" fmla="*/ 728867649 h 1420"/>
                  <a:gd name="T106" fmla="*/ 1011532370 w 1259"/>
                  <a:gd name="T107" fmla="*/ 789543317 h 1420"/>
                  <a:gd name="T108" fmla="*/ 998635823 w 1259"/>
                  <a:gd name="T109" fmla="*/ 817605955 h 1420"/>
                  <a:gd name="T110" fmla="*/ 943022211 w 1259"/>
                  <a:gd name="T111" fmla="*/ 804712451 h 1420"/>
                  <a:gd name="T112" fmla="*/ 864840091 w 1259"/>
                  <a:gd name="T113" fmla="*/ 860079183 h 1420"/>
                  <a:gd name="T114" fmla="*/ 835823981 w 1259"/>
                  <a:gd name="T115" fmla="*/ 896484933 h 1420"/>
                  <a:gd name="T116" fmla="*/ 790687412 w 1259"/>
                  <a:gd name="T117" fmla="*/ 890416582 h 1420"/>
                  <a:gd name="T118" fmla="*/ 747969450 w 1259"/>
                  <a:gd name="T119" fmla="*/ 875248318 h 1420"/>
                  <a:gd name="T120" fmla="*/ 627874898 w 1259"/>
                  <a:gd name="T121" fmla="*/ 909378436 h 1420"/>
                  <a:gd name="T122" fmla="*/ 562589549 w 1259"/>
                  <a:gd name="T123" fmla="*/ 973087626 h 1420"/>
                  <a:gd name="T124" fmla="*/ 552916914 w 1259"/>
                  <a:gd name="T125" fmla="*/ 1067893412 h 142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259"/>
                  <a:gd name="T190" fmla="*/ 0 h 1420"/>
                  <a:gd name="T191" fmla="*/ 1259 w 1259"/>
                  <a:gd name="T192" fmla="*/ 1420 h 142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259" h="1420">
                    <a:moveTo>
                      <a:pt x="593" y="1420"/>
                    </a:moveTo>
                    <a:lnTo>
                      <a:pt x="581" y="1412"/>
                    </a:lnTo>
                    <a:lnTo>
                      <a:pt x="561" y="1400"/>
                    </a:lnTo>
                    <a:lnTo>
                      <a:pt x="553" y="1392"/>
                    </a:lnTo>
                    <a:lnTo>
                      <a:pt x="541" y="1368"/>
                    </a:lnTo>
                    <a:lnTo>
                      <a:pt x="541" y="1348"/>
                    </a:lnTo>
                    <a:lnTo>
                      <a:pt x="541" y="1332"/>
                    </a:lnTo>
                    <a:lnTo>
                      <a:pt x="549" y="1320"/>
                    </a:lnTo>
                    <a:lnTo>
                      <a:pt x="561" y="1308"/>
                    </a:lnTo>
                    <a:lnTo>
                      <a:pt x="561" y="1283"/>
                    </a:lnTo>
                    <a:lnTo>
                      <a:pt x="561" y="1251"/>
                    </a:lnTo>
                    <a:lnTo>
                      <a:pt x="549" y="1223"/>
                    </a:lnTo>
                    <a:lnTo>
                      <a:pt x="533" y="1191"/>
                    </a:lnTo>
                    <a:lnTo>
                      <a:pt x="533" y="1154"/>
                    </a:lnTo>
                    <a:lnTo>
                      <a:pt x="533" y="1114"/>
                    </a:lnTo>
                    <a:lnTo>
                      <a:pt x="545" y="1078"/>
                    </a:lnTo>
                    <a:lnTo>
                      <a:pt x="549" y="1041"/>
                    </a:lnTo>
                    <a:lnTo>
                      <a:pt x="541" y="1033"/>
                    </a:lnTo>
                    <a:lnTo>
                      <a:pt x="525" y="1029"/>
                    </a:lnTo>
                    <a:lnTo>
                      <a:pt x="500" y="1025"/>
                    </a:lnTo>
                    <a:lnTo>
                      <a:pt x="476" y="1025"/>
                    </a:lnTo>
                    <a:lnTo>
                      <a:pt x="456" y="1029"/>
                    </a:lnTo>
                    <a:lnTo>
                      <a:pt x="436" y="1033"/>
                    </a:lnTo>
                    <a:lnTo>
                      <a:pt x="383" y="1025"/>
                    </a:lnTo>
                    <a:lnTo>
                      <a:pt x="323" y="1009"/>
                    </a:lnTo>
                    <a:lnTo>
                      <a:pt x="303" y="1005"/>
                    </a:lnTo>
                    <a:lnTo>
                      <a:pt x="283" y="997"/>
                    </a:lnTo>
                    <a:lnTo>
                      <a:pt x="279" y="985"/>
                    </a:lnTo>
                    <a:lnTo>
                      <a:pt x="271" y="969"/>
                    </a:lnTo>
                    <a:lnTo>
                      <a:pt x="258" y="965"/>
                    </a:lnTo>
                    <a:lnTo>
                      <a:pt x="246" y="961"/>
                    </a:lnTo>
                    <a:lnTo>
                      <a:pt x="246" y="944"/>
                    </a:lnTo>
                    <a:lnTo>
                      <a:pt x="250" y="940"/>
                    </a:lnTo>
                    <a:lnTo>
                      <a:pt x="275" y="932"/>
                    </a:lnTo>
                    <a:lnTo>
                      <a:pt x="299" y="932"/>
                    </a:lnTo>
                    <a:lnTo>
                      <a:pt x="303" y="932"/>
                    </a:lnTo>
                    <a:lnTo>
                      <a:pt x="307" y="904"/>
                    </a:lnTo>
                    <a:lnTo>
                      <a:pt x="307" y="860"/>
                    </a:lnTo>
                    <a:lnTo>
                      <a:pt x="303" y="848"/>
                    </a:lnTo>
                    <a:lnTo>
                      <a:pt x="299" y="831"/>
                    </a:lnTo>
                    <a:lnTo>
                      <a:pt x="287" y="819"/>
                    </a:lnTo>
                    <a:lnTo>
                      <a:pt x="275" y="819"/>
                    </a:lnTo>
                    <a:lnTo>
                      <a:pt x="262" y="803"/>
                    </a:lnTo>
                    <a:lnTo>
                      <a:pt x="254" y="795"/>
                    </a:lnTo>
                    <a:lnTo>
                      <a:pt x="226" y="787"/>
                    </a:lnTo>
                    <a:lnTo>
                      <a:pt x="182" y="779"/>
                    </a:lnTo>
                    <a:lnTo>
                      <a:pt x="174" y="779"/>
                    </a:lnTo>
                    <a:lnTo>
                      <a:pt x="166" y="775"/>
                    </a:lnTo>
                    <a:lnTo>
                      <a:pt x="158" y="767"/>
                    </a:lnTo>
                    <a:lnTo>
                      <a:pt x="141" y="767"/>
                    </a:lnTo>
                    <a:lnTo>
                      <a:pt x="129" y="767"/>
                    </a:lnTo>
                    <a:lnTo>
                      <a:pt x="113" y="775"/>
                    </a:lnTo>
                    <a:lnTo>
                      <a:pt x="105" y="779"/>
                    </a:lnTo>
                    <a:lnTo>
                      <a:pt x="97" y="787"/>
                    </a:lnTo>
                    <a:lnTo>
                      <a:pt x="93" y="787"/>
                    </a:lnTo>
                    <a:lnTo>
                      <a:pt x="89" y="787"/>
                    </a:lnTo>
                    <a:lnTo>
                      <a:pt x="69" y="763"/>
                    </a:lnTo>
                    <a:lnTo>
                      <a:pt x="61" y="759"/>
                    </a:lnTo>
                    <a:lnTo>
                      <a:pt x="61" y="751"/>
                    </a:lnTo>
                    <a:lnTo>
                      <a:pt x="57" y="743"/>
                    </a:lnTo>
                    <a:lnTo>
                      <a:pt x="53" y="739"/>
                    </a:lnTo>
                    <a:lnTo>
                      <a:pt x="49" y="739"/>
                    </a:lnTo>
                    <a:lnTo>
                      <a:pt x="45" y="731"/>
                    </a:lnTo>
                    <a:lnTo>
                      <a:pt x="41" y="718"/>
                    </a:lnTo>
                    <a:lnTo>
                      <a:pt x="28" y="714"/>
                    </a:lnTo>
                    <a:lnTo>
                      <a:pt x="20" y="706"/>
                    </a:lnTo>
                    <a:lnTo>
                      <a:pt x="20" y="702"/>
                    </a:lnTo>
                    <a:lnTo>
                      <a:pt x="12" y="698"/>
                    </a:lnTo>
                    <a:lnTo>
                      <a:pt x="4" y="694"/>
                    </a:lnTo>
                    <a:lnTo>
                      <a:pt x="4" y="686"/>
                    </a:lnTo>
                    <a:lnTo>
                      <a:pt x="0" y="674"/>
                    </a:lnTo>
                    <a:lnTo>
                      <a:pt x="0" y="662"/>
                    </a:lnTo>
                    <a:lnTo>
                      <a:pt x="0" y="650"/>
                    </a:lnTo>
                    <a:lnTo>
                      <a:pt x="4" y="650"/>
                    </a:lnTo>
                    <a:lnTo>
                      <a:pt x="16" y="601"/>
                    </a:lnTo>
                    <a:lnTo>
                      <a:pt x="20" y="581"/>
                    </a:lnTo>
                    <a:lnTo>
                      <a:pt x="45" y="565"/>
                    </a:lnTo>
                    <a:lnTo>
                      <a:pt x="65" y="553"/>
                    </a:lnTo>
                    <a:lnTo>
                      <a:pt x="69" y="537"/>
                    </a:lnTo>
                    <a:lnTo>
                      <a:pt x="81" y="513"/>
                    </a:lnTo>
                    <a:lnTo>
                      <a:pt x="89" y="509"/>
                    </a:lnTo>
                    <a:lnTo>
                      <a:pt x="93" y="505"/>
                    </a:lnTo>
                    <a:lnTo>
                      <a:pt x="101" y="501"/>
                    </a:lnTo>
                    <a:lnTo>
                      <a:pt x="105" y="493"/>
                    </a:lnTo>
                    <a:lnTo>
                      <a:pt x="121" y="493"/>
                    </a:lnTo>
                    <a:lnTo>
                      <a:pt x="141" y="489"/>
                    </a:lnTo>
                    <a:lnTo>
                      <a:pt x="154" y="489"/>
                    </a:lnTo>
                    <a:lnTo>
                      <a:pt x="158" y="484"/>
                    </a:lnTo>
                    <a:lnTo>
                      <a:pt x="166" y="472"/>
                    </a:lnTo>
                    <a:lnTo>
                      <a:pt x="174" y="464"/>
                    </a:lnTo>
                    <a:lnTo>
                      <a:pt x="174" y="460"/>
                    </a:lnTo>
                    <a:lnTo>
                      <a:pt x="174" y="452"/>
                    </a:lnTo>
                    <a:lnTo>
                      <a:pt x="170" y="444"/>
                    </a:lnTo>
                    <a:lnTo>
                      <a:pt x="166" y="436"/>
                    </a:lnTo>
                    <a:lnTo>
                      <a:pt x="166" y="424"/>
                    </a:lnTo>
                    <a:lnTo>
                      <a:pt x="166" y="420"/>
                    </a:lnTo>
                    <a:lnTo>
                      <a:pt x="206" y="392"/>
                    </a:lnTo>
                    <a:lnTo>
                      <a:pt x="218" y="380"/>
                    </a:lnTo>
                    <a:lnTo>
                      <a:pt x="238" y="376"/>
                    </a:lnTo>
                    <a:lnTo>
                      <a:pt x="246" y="372"/>
                    </a:lnTo>
                    <a:lnTo>
                      <a:pt x="258" y="372"/>
                    </a:lnTo>
                    <a:lnTo>
                      <a:pt x="279" y="372"/>
                    </a:lnTo>
                    <a:lnTo>
                      <a:pt x="283" y="367"/>
                    </a:lnTo>
                    <a:lnTo>
                      <a:pt x="295" y="359"/>
                    </a:lnTo>
                    <a:lnTo>
                      <a:pt x="303" y="347"/>
                    </a:lnTo>
                    <a:lnTo>
                      <a:pt x="315" y="331"/>
                    </a:lnTo>
                    <a:lnTo>
                      <a:pt x="315" y="323"/>
                    </a:lnTo>
                    <a:lnTo>
                      <a:pt x="315" y="307"/>
                    </a:lnTo>
                    <a:lnTo>
                      <a:pt x="311" y="299"/>
                    </a:lnTo>
                    <a:lnTo>
                      <a:pt x="307" y="291"/>
                    </a:lnTo>
                    <a:lnTo>
                      <a:pt x="295" y="279"/>
                    </a:lnTo>
                    <a:lnTo>
                      <a:pt x="275" y="250"/>
                    </a:lnTo>
                    <a:lnTo>
                      <a:pt x="271" y="250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0" y="246"/>
                    </a:lnTo>
                    <a:lnTo>
                      <a:pt x="210" y="259"/>
                    </a:lnTo>
                    <a:lnTo>
                      <a:pt x="198" y="263"/>
                    </a:lnTo>
                    <a:lnTo>
                      <a:pt x="190" y="263"/>
                    </a:lnTo>
                    <a:lnTo>
                      <a:pt x="174" y="263"/>
                    </a:lnTo>
                    <a:lnTo>
                      <a:pt x="162" y="259"/>
                    </a:lnTo>
                    <a:lnTo>
                      <a:pt x="145" y="255"/>
                    </a:lnTo>
                    <a:lnTo>
                      <a:pt x="141" y="246"/>
                    </a:lnTo>
                    <a:lnTo>
                      <a:pt x="137" y="242"/>
                    </a:lnTo>
                    <a:lnTo>
                      <a:pt x="137" y="234"/>
                    </a:lnTo>
                    <a:lnTo>
                      <a:pt x="137" y="218"/>
                    </a:lnTo>
                    <a:lnTo>
                      <a:pt x="137" y="214"/>
                    </a:lnTo>
                    <a:lnTo>
                      <a:pt x="141" y="210"/>
                    </a:lnTo>
                    <a:lnTo>
                      <a:pt x="174" y="190"/>
                    </a:lnTo>
                    <a:lnTo>
                      <a:pt x="210" y="162"/>
                    </a:lnTo>
                    <a:lnTo>
                      <a:pt x="210" y="158"/>
                    </a:lnTo>
                    <a:lnTo>
                      <a:pt x="218" y="154"/>
                    </a:lnTo>
                    <a:lnTo>
                      <a:pt x="254" y="121"/>
                    </a:lnTo>
                    <a:lnTo>
                      <a:pt x="287" y="101"/>
                    </a:lnTo>
                    <a:lnTo>
                      <a:pt x="287" y="69"/>
                    </a:lnTo>
                    <a:lnTo>
                      <a:pt x="295" y="45"/>
                    </a:lnTo>
                    <a:lnTo>
                      <a:pt x="299" y="45"/>
                    </a:lnTo>
                    <a:lnTo>
                      <a:pt x="303" y="41"/>
                    </a:lnTo>
                    <a:lnTo>
                      <a:pt x="347" y="33"/>
                    </a:lnTo>
                    <a:lnTo>
                      <a:pt x="367" y="29"/>
                    </a:lnTo>
                    <a:lnTo>
                      <a:pt x="371" y="16"/>
                    </a:lnTo>
                    <a:lnTo>
                      <a:pt x="375" y="12"/>
                    </a:lnTo>
                    <a:lnTo>
                      <a:pt x="392" y="4"/>
                    </a:lnTo>
                    <a:lnTo>
                      <a:pt x="404" y="0"/>
                    </a:lnTo>
                    <a:lnTo>
                      <a:pt x="420" y="0"/>
                    </a:lnTo>
                    <a:lnTo>
                      <a:pt x="436" y="0"/>
                    </a:lnTo>
                    <a:lnTo>
                      <a:pt x="440" y="0"/>
                    </a:lnTo>
                    <a:lnTo>
                      <a:pt x="444" y="4"/>
                    </a:lnTo>
                    <a:lnTo>
                      <a:pt x="444" y="12"/>
                    </a:lnTo>
                    <a:lnTo>
                      <a:pt x="444" y="21"/>
                    </a:lnTo>
                    <a:lnTo>
                      <a:pt x="440" y="33"/>
                    </a:lnTo>
                    <a:lnTo>
                      <a:pt x="428" y="77"/>
                    </a:lnTo>
                    <a:lnTo>
                      <a:pt x="420" y="85"/>
                    </a:lnTo>
                    <a:lnTo>
                      <a:pt x="416" y="101"/>
                    </a:lnTo>
                    <a:lnTo>
                      <a:pt x="412" y="101"/>
                    </a:lnTo>
                    <a:lnTo>
                      <a:pt x="404" y="125"/>
                    </a:lnTo>
                    <a:lnTo>
                      <a:pt x="404" y="158"/>
                    </a:lnTo>
                    <a:lnTo>
                      <a:pt x="404" y="162"/>
                    </a:lnTo>
                    <a:lnTo>
                      <a:pt x="412" y="170"/>
                    </a:lnTo>
                    <a:lnTo>
                      <a:pt x="420" y="170"/>
                    </a:lnTo>
                    <a:lnTo>
                      <a:pt x="428" y="170"/>
                    </a:lnTo>
                    <a:lnTo>
                      <a:pt x="448" y="166"/>
                    </a:lnTo>
                    <a:lnTo>
                      <a:pt x="452" y="162"/>
                    </a:lnTo>
                    <a:lnTo>
                      <a:pt x="456" y="150"/>
                    </a:lnTo>
                    <a:lnTo>
                      <a:pt x="464" y="142"/>
                    </a:lnTo>
                    <a:lnTo>
                      <a:pt x="472" y="129"/>
                    </a:lnTo>
                    <a:lnTo>
                      <a:pt x="480" y="121"/>
                    </a:lnTo>
                    <a:lnTo>
                      <a:pt x="488" y="113"/>
                    </a:lnTo>
                    <a:lnTo>
                      <a:pt x="492" y="101"/>
                    </a:lnTo>
                    <a:lnTo>
                      <a:pt x="496" y="93"/>
                    </a:lnTo>
                    <a:lnTo>
                      <a:pt x="500" y="89"/>
                    </a:lnTo>
                    <a:lnTo>
                      <a:pt x="509" y="89"/>
                    </a:lnTo>
                    <a:lnTo>
                      <a:pt x="517" y="89"/>
                    </a:lnTo>
                    <a:lnTo>
                      <a:pt x="525" y="121"/>
                    </a:lnTo>
                    <a:lnTo>
                      <a:pt x="529" y="154"/>
                    </a:lnTo>
                    <a:lnTo>
                      <a:pt x="533" y="158"/>
                    </a:lnTo>
                    <a:lnTo>
                      <a:pt x="541" y="162"/>
                    </a:lnTo>
                    <a:lnTo>
                      <a:pt x="553" y="198"/>
                    </a:lnTo>
                    <a:lnTo>
                      <a:pt x="561" y="218"/>
                    </a:lnTo>
                    <a:lnTo>
                      <a:pt x="561" y="234"/>
                    </a:lnTo>
                    <a:lnTo>
                      <a:pt x="557" y="242"/>
                    </a:lnTo>
                    <a:lnTo>
                      <a:pt x="553" y="246"/>
                    </a:lnTo>
                    <a:lnTo>
                      <a:pt x="549" y="250"/>
                    </a:lnTo>
                    <a:lnTo>
                      <a:pt x="549" y="267"/>
                    </a:lnTo>
                    <a:lnTo>
                      <a:pt x="549" y="283"/>
                    </a:lnTo>
                    <a:lnTo>
                      <a:pt x="565" y="311"/>
                    </a:lnTo>
                    <a:lnTo>
                      <a:pt x="569" y="331"/>
                    </a:lnTo>
                    <a:lnTo>
                      <a:pt x="593" y="355"/>
                    </a:lnTo>
                    <a:lnTo>
                      <a:pt x="609" y="384"/>
                    </a:lnTo>
                    <a:lnTo>
                      <a:pt x="617" y="392"/>
                    </a:lnTo>
                    <a:lnTo>
                      <a:pt x="621" y="396"/>
                    </a:lnTo>
                    <a:lnTo>
                      <a:pt x="674" y="396"/>
                    </a:lnTo>
                    <a:lnTo>
                      <a:pt x="726" y="396"/>
                    </a:lnTo>
                    <a:lnTo>
                      <a:pt x="730" y="384"/>
                    </a:lnTo>
                    <a:lnTo>
                      <a:pt x="738" y="376"/>
                    </a:lnTo>
                    <a:lnTo>
                      <a:pt x="747" y="372"/>
                    </a:lnTo>
                    <a:lnTo>
                      <a:pt x="755" y="372"/>
                    </a:lnTo>
                    <a:lnTo>
                      <a:pt x="755" y="367"/>
                    </a:lnTo>
                    <a:lnTo>
                      <a:pt x="759" y="359"/>
                    </a:lnTo>
                    <a:lnTo>
                      <a:pt x="775" y="359"/>
                    </a:lnTo>
                    <a:lnTo>
                      <a:pt x="787" y="359"/>
                    </a:lnTo>
                    <a:lnTo>
                      <a:pt x="787" y="384"/>
                    </a:lnTo>
                    <a:lnTo>
                      <a:pt x="783" y="408"/>
                    </a:lnTo>
                    <a:lnTo>
                      <a:pt x="787" y="416"/>
                    </a:lnTo>
                    <a:lnTo>
                      <a:pt x="791" y="440"/>
                    </a:lnTo>
                    <a:lnTo>
                      <a:pt x="803" y="460"/>
                    </a:lnTo>
                    <a:lnTo>
                      <a:pt x="815" y="484"/>
                    </a:lnTo>
                    <a:lnTo>
                      <a:pt x="819" y="489"/>
                    </a:lnTo>
                    <a:lnTo>
                      <a:pt x="827" y="493"/>
                    </a:lnTo>
                    <a:lnTo>
                      <a:pt x="835" y="529"/>
                    </a:lnTo>
                    <a:lnTo>
                      <a:pt x="839" y="553"/>
                    </a:lnTo>
                    <a:lnTo>
                      <a:pt x="859" y="565"/>
                    </a:lnTo>
                    <a:lnTo>
                      <a:pt x="872" y="577"/>
                    </a:lnTo>
                    <a:lnTo>
                      <a:pt x="888" y="577"/>
                    </a:lnTo>
                    <a:lnTo>
                      <a:pt x="904" y="581"/>
                    </a:lnTo>
                    <a:lnTo>
                      <a:pt x="908" y="585"/>
                    </a:lnTo>
                    <a:lnTo>
                      <a:pt x="920" y="589"/>
                    </a:lnTo>
                    <a:lnTo>
                      <a:pt x="936" y="589"/>
                    </a:lnTo>
                    <a:lnTo>
                      <a:pt x="948" y="589"/>
                    </a:lnTo>
                    <a:lnTo>
                      <a:pt x="960" y="585"/>
                    </a:lnTo>
                    <a:lnTo>
                      <a:pt x="981" y="585"/>
                    </a:lnTo>
                    <a:lnTo>
                      <a:pt x="993" y="593"/>
                    </a:lnTo>
                    <a:lnTo>
                      <a:pt x="1005" y="601"/>
                    </a:lnTo>
                    <a:lnTo>
                      <a:pt x="1005" y="610"/>
                    </a:lnTo>
                    <a:lnTo>
                      <a:pt x="1009" y="610"/>
                    </a:lnTo>
                    <a:lnTo>
                      <a:pt x="1013" y="610"/>
                    </a:lnTo>
                    <a:lnTo>
                      <a:pt x="1017" y="610"/>
                    </a:lnTo>
                    <a:lnTo>
                      <a:pt x="1029" y="601"/>
                    </a:lnTo>
                    <a:lnTo>
                      <a:pt x="1033" y="593"/>
                    </a:lnTo>
                    <a:lnTo>
                      <a:pt x="1033" y="585"/>
                    </a:lnTo>
                    <a:lnTo>
                      <a:pt x="1037" y="585"/>
                    </a:lnTo>
                    <a:lnTo>
                      <a:pt x="1045" y="581"/>
                    </a:lnTo>
                    <a:lnTo>
                      <a:pt x="1057" y="581"/>
                    </a:lnTo>
                    <a:lnTo>
                      <a:pt x="1069" y="577"/>
                    </a:lnTo>
                    <a:lnTo>
                      <a:pt x="1081" y="589"/>
                    </a:lnTo>
                    <a:lnTo>
                      <a:pt x="1093" y="614"/>
                    </a:lnTo>
                    <a:lnTo>
                      <a:pt x="1098" y="638"/>
                    </a:lnTo>
                    <a:lnTo>
                      <a:pt x="1098" y="642"/>
                    </a:lnTo>
                    <a:lnTo>
                      <a:pt x="1122" y="642"/>
                    </a:lnTo>
                    <a:lnTo>
                      <a:pt x="1142" y="650"/>
                    </a:lnTo>
                    <a:lnTo>
                      <a:pt x="1150" y="642"/>
                    </a:lnTo>
                    <a:lnTo>
                      <a:pt x="1162" y="642"/>
                    </a:lnTo>
                    <a:lnTo>
                      <a:pt x="1162" y="638"/>
                    </a:lnTo>
                    <a:lnTo>
                      <a:pt x="1174" y="638"/>
                    </a:lnTo>
                    <a:lnTo>
                      <a:pt x="1186" y="638"/>
                    </a:lnTo>
                    <a:lnTo>
                      <a:pt x="1186" y="642"/>
                    </a:lnTo>
                    <a:lnTo>
                      <a:pt x="1190" y="650"/>
                    </a:lnTo>
                    <a:lnTo>
                      <a:pt x="1190" y="666"/>
                    </a:lnTo>
                    <a:lnTo>
                      <a:pt x="1190" y="686"/>
                    </a:lnTo>
                    <a:lnTo>
                      <a:pt x="1186" y="694"/>
                    </a:lnTo>
                    <a:lnTo>
                      <a:pt x="1178" y="702"/>
                    </a:lnTo>
                    <a:lnTo>
                      <a:pt x="1178" y="739"/>
                    </a:lnTo>
                    <a:lnTo>
                      <a:pt x="1178" y="775"/>
                    </a:lnTo>
                    <a:lnTo>
                      <a:pt x="1186" y="779"/>
                    </a:lnTo>
                    <a:lnTo>
                      <a:pt x="1190" y="787"/>
                    </a:lnTo>
                    <a:lnTo>
                      <a:pt x="1194" y="799"/>
                    </a:lnTo>
                    <a:lnTo>
                      <a:pt x="1194" y="827"/>
                    </a:lnTo>
                    <a:lnTo>
                      <a:pt x="1194" y="848"/>
                    </a:lnTo>
                    <a:lnTo>
                      <a:pt x="1194" y="876"/>
                    </a:lnTo>
                    <a:lnTo>
                      <a:pt x="1198" y="896"/>
                    </a:lnTo>
                    <a:lnTo>
                      <a:pt x="1206" y="908"/>
                    </a:lnTo>
                    <a:lnTo>
                      <a:pt x="1223" y="961"/>
                    </a:lnTo>
                    <a:lnTo>
                      <a:pt x="1239" y="977"/>
                    </a:lnTo>
                    <a:lnTo>
                      <a:pt x="1251" y="993"/>
                    </a:lnTo>
                    <a:lnTo>
                      <a:pt x="1255" y="1005"/>
                    </a:lnTo>
                    <a:lnTo>
                      <a:pt x="1259" y="1025"/>
                    </a:lnTo>
                    <a:lnTo>
                      <a:pt x="1255" y="1041"/>
                    </a:lnTo>
                    <a:lnTo>
                      <a:pt x="1255" y="1061"/>
                    </a:lnTo>
                    <a:lnTo>
                      <a:pt x="1251" y="1061"/>
                    </a:lnTo>
                    <a:lnTo>
                      <a:pt x="1251" y="1074"/>
                    </a:lnTo>
                    <a:lnTo>
                      <a:pt x="1243" y="1074"/>
                    </a:lnTo>
                    <a:lnTo>
                      <a:pt x="1239" y="1078"/>
                    </a:lnTo>
                    <a:lnTo>
                      <a:pt x="1231" y="1078"/>
                    </a:lnTo>
                    <a:lnTo>
                      <a:pt x="1214" y="1078"/>
                    </a:lnTo>
                    <a:lnTo>
                      <a:pt x="1206" y="1074"/>
                    </a:lnTo>
                    <a:lnTo>
                      <a:pt x="1194" y="1061"/>
                    </a:lnTo>
                    <a:lnTo>
                      <a:pt x="1170" y="1061"/>
                    </a:lnTo>
                    <a:lnTo>
                      <a:pt x="1146" y="1061"/>
                    </a:lnTo>
                    <a:lnTo>
                      <a:pt x="1118" y="1065"/>
                    </a:lnTo>
                    <a:lnTo>
                      <a:pt x="1093" y="1074"/>
                    </a:lnTo>
                    <a:lnTo>
                      <a:pt x="1085" y="1090"/>
                    </a:lnTo>
                    <a:lnTo>
                      <a:pt x="1073" y="1134"/>
                    </a:lnTo>
                    <a:lnTo>
                      <a:pt x="1069" y="1154"/>
                    </a:lnTo>
                    <a:lnTo>
                      <a:pt x="1061" y="1174"/>
                    </a:lnTo>
                    <a:lnTo>
                      <a:pt x="1049" y="1174"/>
                    </a:lnTo>
                    <a:lnTo>
                      <a:pt x="1037" y="1182"/>
                    </a:lnTo>
                    <a:lnTo>
                      <a:pt x="1029" y="1191"/>
                    </a:lnTo>
                    <a:lnTo>
                      <a:pt x="1013" y="1191"/>
                    </a:lnTo>
                    <a:lnTo>
                      <a:pt x="1005" y="1191"/>
                    </a:lnTo>
                    <a:lnTo>
                      <a:pt x="993" y="1186"/>
                    </a:lnTo>
                    <a:lnTo>
                      <a:pt x="981" y="1174"/>
                    </a:lnTo>
                    <a:lnTo>
                      <a:pt x="976" y="1166"/>
                    </a:lnTo>
                    <a:lnTo>
                      <a:pt x="972" y="1154"/>
                    </a:lnTo>
                    <a:lnTo>
                      <a:pt x="952" y="1154"/>
                    </a:lnTo>
                    <a:lnTo>
                      <a:pt x="940" y="1150"/>
                    </a:lnTo>
                    <a:lnTo>
                      <a:pt x="928" y="1154"/>
                    </a:lnTo>
                    <a:lnTo>
                      <a:pt x="920" y="1154"/>
                    </a:lnTo>
                    <a:lnTo>
                      <a:pt x="904" y="1174"/>
                    </a:lnTo>
                    <a:lnTo>
                      <a:pt x="888" y="1191"/>
                    </a:lnTo>
                    <a:lnTo>
                      <a:pt x="855" y="1195"/>
                    </a:lnTo>
                    <a:lnTo>
                      <a:pt x="779" y="1199"/>
                    </a:lnTo>
                    <a:lnTo>
                      <a:pt x="759" y="1207"/>
                    </a:lnTo>
                    <a:lnTo>
                      <a:pt x="738" y="1223"/>
                    </a:lnTo>
                    <a:lnTo>
                      <a:pt x="722" y="1255"/>
                    </a:lnTo>
                    <a:lnTo>
                      <a:pt x="710" y="1275"/>
                    </a:lnTo>
                    <a:lnTo>
                      <a:pt x="698" y="1283"/>
                    </a:lnTo>
                    <a:lnTo>
                      <a:pt x="686" y="1299"/>
                    </a:lnTo>
                    <a:lnTo>
                      <a:pt x="690" y="1340"/>
                    </a:lnTo>
                    <a:lnTo>
                      <a:pt x="690" y="1384"/>
                    </a:lnTo>
                    <a:lnTo>
                      <a:pt x="690" y="1392"/>
                    </a:lnTo>
                    <a:lnTo>
                      <a:pt x="686" y="1408"/>
                    </a:lnTo>
                    <a:lnTo>
                      <a:pt x="674" y="1412"/>
                    </a:lnTo>
                    <a:lnTo>
                      <a:pt x="666" y="1416"/>
                    </a:lnTo>
                    <a:lnTo>
                      <a:pt x="630" y="1416"/>
                    </a:lnTo>
                    <a:lnTo>
                      <a:pt x="593" y="142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800" b="1">
                  <a:cs typeface="+mn-cs"/>
                </a:endParaRPr>
              </a:p>
            </p:txBody>
          </p:sp>
          <p:grpSp>
            <p:nvGrpSpPr>
              <p:cNvPr id="45" name="Группа 44"/>
              <p:cNvGrpSpPr/>
              <p:nvPr/>
            </p:nvGrpSpPr>
            <p:grpSpPr>
              <a:xfrm>
                <a:off x="7018543" y="2743697"/>
                <a:ext cx="1054118" cy="930679"/>
                <a:chOff x="7018539" y="2743001"/>
                <a:chExt cx="1054117" cy="930679"/>
              </a:xfrm>
              <a:solidFill>
                <a:srgbClr val="FFFF99"/>
              </a:solidFill>
              <a:effectLst/>
            </p:grpSpPr>
            <p:sp>
              <p:nvSpPr>
                <p:cNvPr id="105" name="Freeform 54"/>
                <p:cNvSpPr>
                  <a:spLocks/>
                </p:cNvSpPr>
                <p:nvPr/>
              </p:nvSpPr>
              <p:spPr bwMode="auto">
                <a:xfrm>
                  <a:off x="7018539" y="2808028"/>
                  <a:ext cx="1054117" cy="865652"/>
                </a:xfrm>
                <a:custGeom>
                  <a:avLst/>
                  <a:gdLst>
                    <a:gd name="T0" fmla="*/ 1966 w 1174"/>
                    <a:gd name="T1" fmla="*/ 2013 h 972"/>
                    <a:gd name="T2" fmla="*/ 1803 w 1174"/>
                    <a:gd name="T3" fmla="*/ 1909 h 972"/>
                    <a:gd name="T4" fmla="*/ 1638 w 1174"/>
                    <a:gd name="T5" fmla="*/ 1847 h 972"/>
                    <a:gd name="T6" fmla="*/ 1517 w 1174"/>
                    <a:gd name="T7" fmla="*/ 1830 h 972"/>
                    <a:gd name="T8" fmla="*/ 1421 w 1174"/>
                    <a:gd name="T9" fmla="*/ 1987 h 972"/>
                    <a:gd name="T10" fmla="*/ 1335 w 1174"/>
                    <a:gd name="T11" fmla="*/ 2030 h 972"/>
                    <a:gd name="T12" fmla="*/ 1257 w 1174"/>
                    <a:gd name="T13" fmla="*/ 2021 h 972"/>
                    <a:gd name="T14" fmla="*/ 1118 w 1174"/>
                    <a:gd name="T15" fmla="*/ 1927 h 972"/>
                    <a:gd name="T16" fmla="*/ 1040 w 1174"/>
                    <a:gd name="T17" fmla="*/ 1821 h 972"/>
                    <a:gd name="T18" fmla="*/ 926 w 1174"/>
                    <a:gd name="T19" fmla="*/ 1778 h 972"/>
                    <a:gd name="T20" fmla="*/ 763 w 1174"/>
                    <a:gd name="T21" fmla="*/ 1658 h 972"/>
                    <a:gd name="T22" fmla="*/ 597 w 1174"/>
                    <a:gd name="T23" fmla="*/ 1552 h 972"/>
                    <a:gd name="T24" fmla="*/ 511 w 1174"/>
                    <a:gd name="T25" fmla="*/ 1441 h 972"/>
                    <a:gd name="T26" fmla="*/ 458 w 1174"/>
                    <a:gd name="T27" fmla="*/ 1363 h 972"/>
                    <a:gd name="T28" fmla="*/ 363 w 1174"/>
                    <a:gd name="T29" fmla="*/ 1206 h 972"/>
                    <a:gd name="T30" fmla="*/ 312 w 1174"/>
                    <a:gd name="T31" fmla="*/ 1112 h 972"/>
                    <a:gd name="T32" fmla="*/ 380 w 1174"/>
                    <a:gd name="T33" fmla="*/ 937 h 972"/>
                    <a:gd name="T34" fmla="*/ 303 w 1174"/>
                    <a:gd name="T35" fmla="*/ 841 h 972"/>
                    <a:gd name="T36" fmla="*/ 17 w 1174"/>
                    <a:gd name="T37" fmla="*/ 781 h 972"/>
                    <a:gd name="T38" fmla="*/ 9 w 1174"/>
                    <a:gd name="T39" fmla="*/ 686 h 972"/>
                    <a:gd name="T40" fmla="*/ 286 w 1174"/>
                    <a:gd name="T41" fmla="*/ 460 h 972"/>
                    <a:gd name="T42" fmla="*/ 320 w 1174"/>
                    <a:gd name="T43" fmla="*/ 174 h 972"/>
                    <a:gd name="T44" fmla="*/ 372 w 1174"/>
                    <a:gd name="T45" fmla="*/ 95 h 972"/>
                    <a:gd name="T46" fmla="*/ 441 w 1174"/>
                    <a:gd name="T47" fmla="*/ 0 h 972"/>
                    <a:gd name="T48" fmla="*/ 511 w 1174"/>
                    <a:gd name="T49" fmla="*/ 60 h 972"/>
                    <a:gd name="T50" fmla="*/ 563 w 1174"/>
                    <a:gd name="T51" fmla="*/ 140 h 972"/>
                    <a:gd name="T52" fmla="*/ 763 w 1174"/>
                    <a:gd name="T53" fmla="*/ 286 h 972"/>
                    <a:gd name="T54" fmla="*/ 1066 w 1174"/>
                    <a:gd name="T55" fmla="*/ 260 h 972"/>
                    <a:gd name="T56" fmla="*/ 1212 w 1174"/>
                    <a:gd name="T57" fmla="*/ 286 h 972"/>
                    <a:gd name="T58" fmla="*/ 1274 w 1174"/>
                    <a:gd name="T59" fmla="*/ 383 h 972"/>
                    <a:gd name="T60" fmla="*/ 1178 w 1174"/>
                    <a:gd name="T61" fmla="*/ 529 h 972"/>
                    <a:gd name="T62" fmla="*/ 1178 w 1174"/>
                    <a:gd name="T63" fmla="*/ 660 h 972"/>
                    <a:gd name="T64" fmla="*/ 1395 w 1174"/>
                    <a:gd name="T65" fmla="*/ 634 h 972"/>
                    <a:gd name="T66" fmla="*/ 1455 w 1174"/>
                    <a:gd name="T67" fmla="*/ 520 h 972"/>
                    <a:gd name="T68" fmla="*/ 1577 w 1174"/>
                    <a:gd name="T69" fmla="*/ 383 h 972"/>
                    <a:gd name="T70" fmla="*/ 1638 w 1174"/>
                    <a:gd name="T71" fmla="*/ 400 h 972"/>
                    <a:gd name="T72" fmla="*/ 1880 w 1174"/>
                    <a:gd name="T73" fmla="*/ 529 h 972"/>
                    <a:gd name="T74" fmla="*/ 1932 w 1174"/>
                    <a:gd name="T75" fmla="*/ 634 h 972"/>
                    <a:gd name="T76" fmla="*/ 2106 w 1174"/>
                    <a:gd name="T77" fmla="*/ 669 h 972"/>
                    <a:gd name="T78" fmla="*/ 2280 w 1174"/>
                    <a:gd name="T79" fmla="*/ 660 h 972"/>
                    <a:gd name="T80" fmla="*/ 2349 w 1174"/>
                    <a:gd name="T81" fmla="*/ 781 h 972"/>
                    <a:gd name="T82" fmla="*/ 2366 w 1174"/>
                    <a:gd name="T83" fmla="*/ 841 h 972"/>
                    <a:gd name="T84" fmla="*/ 2254 w 1174"/>
                    <a:gd name="T85" fmla="*/ 1023 h 972"/>
                    <a:gd name="T86" fmla="*/ 2235 w 1174"/>
                    <a:gd name="T87" fmla="*/ 1172 h 972"/>
                    <a:gd name="T88" fmla="*/ 2123 w 1174"/>
                    <a:gd name="T89" fmla="*/ 1398 h 972"/>
                    <a:gd name="T90" fmla="*/ 2140 w 1174"/>
                    <a:gd name="T91" fmla="*/ 1535 h 972"/>
                    <a:gd name="T92" fmla="*/ 2263 w 1174"/>
                    <a:gd name="T93" fmla="*/ 1484 h 972"/>
                    <a:gd name="T94" fmla="*/ 2375 w 1174"/>
                    <a:gd name="T95" fmla="*/ 1718 h 972"/>
                    <a:gd name="T96" fmla="*/ 2461 w 1174"/>
                    <a:gd name="T97" fmla="*/ 1778 h 972"/>
                    <a:gd name="T98" fmla="*/ 2523 w 1174"/>
                    <a:gd name="T99" fmla="*/ 1884 h 972"/>
                    <a:gd name="T100" fmla="*/ 2443 w 1174"/>
                    <a:gd name="T101" fmla="*/ 1944 h 972"/>
                    <a:gd name="T102" fmla="*/ 2375 w 1174"/>
                    <a:gd name="T103" fmla="*/ 2004 h 972"/>
                    <a:gd name="T104" fmla="*/ 2226 w 1174"/>
                    <a:gd name="T105" fmla="*/ 1952 h 972"/>
                    <a:gd name="T106" fmla="*/ 2175 w 1174"/>
                    <a:gd name="T107" fmla="*/ 2030 h 972"/>
                    <a:gd name="T108" fmla="*/ 2072 w 1174"/>
                    <a:gd name="T109" fmla="*/ 2090 h 97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174"/>
                    <a:gd name="T166" fmla="*/ 0 h 972"/>
                    <a:gd name="T167" fmla="*/ 1174 w 1174"/>
                    <a:gd name="T168" fmla="*/ 972 h 972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174" h="972">
                      <a:moveTo>
                        <a:pt x="944" y="972"/>
                      </a:moveTo>
                      <a:lnTo>
                        <a:pt x="936" y="964"/>
                      </a:lnTo>
                      <a:lnTo>
                        <a:pt x="927" y="964"/>
                      </a:lnTo>
                      <a:lnTo>
                        <a:pt x="923" y="948"/>
                      </a:lnTo>
                      <a:lnTo>
                        <a:pt x="915" y="936"/>
                      </a:lnTo>
                      <a:lnTo>
                        <a:pt x="903" y="908"/>
                      </a:lnTo>
                      <a:lnTo>
                        <a:pt x="899" y="900"/>
                      </a:lnTo>
                      <a:lnTo>
                        <a:pt x="891" y="896"/>
                      </a:lnTo>
                      <a:lnTo>
                        <a:pt x="883" y="892"/>
                      </a:lnTo>
                      <a:lnTo>
                        <a:pt x="839" y="888"/>
                      </a:lnTo>
                      <a:lnTo>
                        <a:pt x="823" y="880"/>
                      </a:lnTo>
                      <a:lnTo>
                        <a:pt x="815" y="868"/>
                      </a:lnTo>
                      <a:lnTo>
                        <a:pt x="798" y="859"/>
                      </a:lnTo>
                      <a:lnTo>
                        <a:pt x="782" y="859"/>
                      </a:lnTo>
                      <a:lnTo>
                        <a:pt x="762" y="859"/>
                      </a:lnTo>
                      <a:lnTo>
                        <a:pt x="742" y="851"/>
                      </a:lnTo>
                      <a:lnTo>
                        <a:pt x="734" y="851"/>
                      </a:lnTo>
                      <a:lnTo>
                        <a:pt x="722" y="851"/>
                      </a:lnTo>
                      <a:lnTo>
                        <a:pt x="714" y="851"/>
                      </a:lnTo>
                      <a:lnTo>
                        <a:pt x="706" y="851"/>
                      </a:lnTo>
                      <a:lnTo>
                        <a:pt x="702" y="851"/>
                      </a:lnTo>
                      <a:lnTo>
                        <a:pt x="677" y="892"/>
                      </a:lnTo>
                      <a:lnTo>
                        <a:pt x="665" y="908"/>
                      </a:lnTo>
                      <a:lnTo>
                        <a:pt x="665" y="916"/>
                      </a:lnTo>
                      <a:lnTo>
                        <a:pt x="661" y="924"/>
                      </a:lnTo>
                      <a:lnTo>
                        <a:pt x="649" y="928"/>
                      </a:lnTo>
                      <a:lnTo>
                        <a:pt x="645" y="932"/>
                      </a:lnTo>
                      <a:lnTo>
                        <a:pt x="641" y="936"/>
                      </a:lnTo>
                      <a:lnTo>
                        <a:pt x="637" y="940"/>
                      </a:lnTo>
                      <a:lnTo>
                        <a:pt x="621" y="944"/>
                      </a:lnTo>
                      <a:lnTo>
                        <a:pt x="613" y="948"/>
                      </a:lnTo>
                      <a:lnTo>
                        <a:pt x="597" y="948"/>
                      </a:lnTo>
                      <a:lnTo>
                        <a:pt x="585" y="948"/>
                      </a:lnTo>
                      <a:lnTo>
                        <a:pt x="585" y="944"/>
                      </a:lnTo>
                      <a:lnTo>
                        <a:pt x="585" y="940"/>
                      </a:lnTo>
                      <a:lnTo>
                        <a:pt x="560" y="932"/>
                      </a:lnTo>
                      <a:lnTo>
                        <a:pt x="536" y="924"/>
                      </a:lnTo>
                      <a:lnTo>
                        <a:pt x="528" y="912"/>
                      </a:lnTo>
                      <a:lnTo>
                        <a:pt x="524" y="904"/>
                      </a:lnTo>
                      <a:lnTo>
                        <a:pt x="520" y="896"/>
                      </a:lnTo>
                      <a:lnTo>
                        <a:pt x="512" y="876"/>
                      </a:lnTo>
                      <a:lnTo>
                        <a:pt x="508" y="868"/>
                      </a:lnTo>
                      <a:lnTo>
                        <a:pt x="496" y="851"/>
                      </a:lnTo>
                      <a:lnTo>
                        <a:pt x="492" y="851"/>
                      </a:lnTo>
                      <a:lnTo>
                        <a:pt x="484" y="847"/>
                      </a:lnTo>
                      <a:lnTo>
                        <a:pt x="468" y="847"/>
                      </a:lnTo>
                      <a:lnTo>
                        <a:pt x="447" y="847"/>
                      </a:lnTo>
                      <a:lnTo>
                        <a:pt x="443" y="839"/>
                      </a:lnTo>
                      <a:lnTo>
                        <a:pt x="431" y="835"/>
                      </a:lnTo>
                      <a:lnTo>
                        <a:pt x="431" y="827"/>
                      </a:lnTo>
                      <a:lnTo>
                        <a:pt x="427" y="815"/>
                      </a:lnTo>
                      <a:lnTo>
                        <a:pt x="407" y="787"/>
                      </a:lnTo>
                      <a:lnTo>
                        <a:pt x="395" y="775"/>
                      </a:lnTo>
                      <a:lnTo>
                        <a:pt x="375" y="775"/>
                      </a:lnTo>
                      <a:lnTo>
                        <a:pt x="355" y="771"/>
                      </a:lnTo>
                      <a:lnTo>
                        <a:pt x="339" y="763"/>
                      </a:lnTo>
                      <a:lnTo>
                        <a:pt x="318" y="751"/>
                      </a:lnTo>
                      <a:lnTo>
                        <a:pt x="314" y="738"/>
                      </a:lnTo>
                      <a:lnTo>
                        <a:pt x="302" y="730"/>
                      </a:lnTo>
                      <a:lnTo>
                        <a:pt x="278" y="722"/>
                      </a:lnTo>
                      <a:lnTo>
                        <a:pt x="258" y="714"/>
                      </a:lnTo>
                      <a:lnTo>
                        <a:pt x="254" y="702"/>
                      </a:lnTo>
                      <a:lnTo>
                        <a:pt x="246" y="690"/>
                      </a:lnTo>
                      <a:lnTo>
                        <a:pt x="238" y="678"/>
                      </a:lnTo>
                      <a:lnTo>
                        <a:pt x="238" y="670"/>
                      </a:lnTo>
                      <a:lnTo>
                        <a:pt x="230" y="658"/>
                      </a:lnTo>
                      <a:lnTo>
                        <a:pt x="222" y="646"/>
                      </a:lnTo>
                      <a:lnTo>
                        <a:pt x="222" y="642"/>
                      </a:lnTo>
                      <a:lnTo>
                        <a:pt x="213" y="638"/>
                      </a:lnTo>
                      <a:lnTo>
                        <a:pt x="213" y="634"/>
                      </a:lnTo>
                      <a:lnTo>
                        <a:pt x="205" y="629"/>
                      </a:lnTo>
                      <a:lnTo>
                        <a:pt x="205" y="621"/>
                      </a:lnTo>
                      <a:lnTo>
                        <a:pt x="201" y="605"/>
                      </a:lnTo>
                      <a:lnTo>
                        <a:pt x="181" y="585"/>
                      </a:lnTo>
                      <a:lnTo>
                        <a:pt x="169" y="561"/>
                      </a:lnTo>
                      <a:lnTo>
                        <a:pt x="157" y="557"/>
                      </a:lnTo>
                      <a:lnTo>
                        <a:pt x="145" y="549"/>
                      </a:lnTo>
                      <a:lnTo>
                        <a:pt x="145" y="545"/>
                      </a:lnTo>
                      <a:lnTo>
                        <a:pt x="145" y="533"/>
                      </a:lnTo>
                      <a:lnTo>
                        <a:pt x="145" y="517"/>
                      </a:lnTo>
                      <a:lnTo>
                        <a:pt x="145" y="492"/>
                      </a:lnTo>
                      <a:lnTo>
                        <a:pt x="153" y="476"/>
                      </a:lnTo>
                      <a:lnTo>
                        <a:pt x="157" y="452"/>
                      </a:lnTo>
                      <a:lnTo>
                        <a:pt x="169" y="444"/>
                      </a:lnTo>
                      <a:lnTo>
                        <a:pt x="177" y="436"/>
                      </a:lnTo>
                      <a:lnTo>
                        <a:pt x="177" y="428"/>
                      </a:lnTo>
                      <a:lnTo>
                        <a:pt x="177" y="420"/>
                      </a:lnTo>
                      <a:lnTo>
                        <a:pt x="173" y="404"/>
                      </a:lnTo>
                      <a:lnTo>
                        <a:pt x="169" y="391"/>
                      </a:lnTo>
                      <a:lnTo>
                        <a:pt x="141" y="391"/>
                      </a:lnTo>
                      <a:lnTo>
                        <a:pt x="105" y="387"/>
                      </a:lnTo>
                      <a:lnTo>
                        <a:pt x="96" y="379"/>
                      </a:lnTo>
                      <a:lnTo>
                        <a:pt x="72" y="367"/>
                      </a:lnTo>
                      <a:lnTo>
                        <a:pt x="40" y="367"/>
                      </a:lnTo>
                      <a:lnTo>
                        <a:pt x="8" y="363"/>
                      </a:lnTo>
                      <a:lnTo>
                        <a:pt x="4" y="355"/>
                      </a:lnTo>
                      <a:lnTo>
                        <a:pt x="0" y="355"/>
                      </a:lnTo>
                      <a:lnTo>
                        <a:pt x="0" y="339"/>
                      </a:lnTo>
                      <a:lnTo>
                        <a:pt x="0" y="327"/>
                      </a:lnTo>
                      <a:lnTo>
                        <a:pt x="4" y="319"/>
                      </a:lnTo>
                      <a:lnTo>
                        <a:pt x="8" y="270"/>
                      </a:lnTo>
                      <a:lnTo>
                        <a:pt x="16" y="234"/>
                      </a:lnTo>
                      <a:lnTo>
                        <a:pt x="56" y="226"/>
                      </a:lnTo>
                      <a:lnTo>
                        <a:pt x="100" y="222"/>
                      </a:lnTo>
                      <a:lnTo>
                        <a:pt x="133" y="214"/>
                      </a:lnTo>
                      <a:lnTo>
                        <a:pt x="145" y="206"/>
                      </a:lnTo>
                      <a:lnTo>
                        <a:pt x="145" y="141"/>
                      </a:lnTo>
                      <a:lnTo>
                        <a:pt x="145" y="125"/>
                      </a:lnTo>
                      <a:lnTo>
                        <a:pt x="145" y="101"/>
                      </a:lnTo>
                      <a:lnTo>
                        <a:pt x="149" y="81"/>
                      </a:lnTo>
                      <a:lnTo>
                        <a:pt x="157" y="81"/>
                      </a:lnTo>
                      <a:lnTo>
                        <a:pt x="165" y="81"/>
                      </a:lnTo>
                      <a:lnTo>
                        <a:pt x="169" y="77"/>
                      </a:lnTo>
                      <a:lnTo>
                        <a:pt x="173" y="73"/>
                      </a:lnTo>
                      <a:lnTo>
                        <a:pt x="173" y="44"/>
                      </a:lnTo>
                      <a:lnTo>
                        <a:pt x="173" y="24"/>
                      </a:lnTo>
                      <a:lnTo>
                        <a:pt x="169" y="16"/>
                      </a:lnTo>
                      <a:lnTo>
                        <a:pt x="169" y="4"/>
                      </a:lnTo>
                      <a:lnTo>
                        <a:pt x="185" y="0"/>
                      </a:lnTo>
                      <a:lnTo>
                        <a:pt x="205" y="0"/>
                      </a:lnTo>
                      <a:lnTo>
                        <a:pt x="213" y="0"/>
                      </a:lnTo>
                      <a:lnTo>
                        <a:pt x="222" y="0"/>
                      </a:lnTo>
                      <a:lnTo>
                        <a:pt x="230" y="8"/>
                      </a:lnTo>
                      <a:lnTo>
                        <a:pt x="238" y="16"/>
                      </a:lnTo>
                      <a:lnTo>
                        <a:pt x="238" y="28"/>
                      </a:lnTo>
                      <a:lnTo>
                        <a:pt x="246" y="40"/>
                      </a:lnTo>
                      <a:lnTo>
                        <a:pt x="250" y="44"/>
                      </a:lnTo>
                      <a:lnTo>
                        <a:pt x="254" y="44"/>
                      </a:lnTo>
                      <a:lnTo>
                        <a:pt x="258" y="57"/>
                      </a:lnTo>
                      <a:lnTo>
                        <a:pt x="262" y="65"/>
                      </a:lnTo>
                      <a:lnTo>
                        <a:pt x="274" y="85"/>
                      </a:lnTo>
                      <a:lnTo>
                        <a:pt x="290" y="113"/>
                      </a:lnTo>
                      <a:lnTo>
                        <a:pt x="302" y="125"/>
                      </a:lnTo>
                      <a:lnTo>
                        <a:pt x="318" y="133"/>
                      </a:lnTo>
                      <a:lnTo>
                        <a:pt x="355" y="133"/>
                      </a:lnTo>
                      <a:lnTo>
                        <a:pt x="391" y="133"/>
                      </a:lnTo>
                      <a:lnTo>
                        <a:pt x="427" y="133"/>
                      </a:lnTo>
                      <a:lnTo>
                        <a:pt x="460" y="133"/>
                      </a:lnTo>
                      <a:lnTo>
                        <a:pt x="480" y="129"/>
                      </a:lnTo>
                      <a:lnTo>
                        <a:pt x="496" y="121"/>
                      </a:lnTo>
                      <a:lnTo>
                        <a:pt x="524" y="121"/>
                      </a:lnTo>
                      <a:lnTo>
                        <a:pt x="544" y="125"/>
                      </a:lnTo>
                      <a:lnTo>
                        <a:pt x="548" y="129"/>
                      </a:lnTo>
                      <a:lnTo>
                        <a:pt x="556" y="133"/>
                      </a:lnTo>
                      <a:lnTo>
                        <a:pt x="564" y="133"/>
                      </a:lnTo>
                      <a:lnTo>
                        <a:pt x="577" y="141"/>
                      </a:lnTo>
                      <a:lnTo>
                        <a:pt x="585" y="149"/>
                      </a:lnTo>
                      <a:lnTo>
                        <a:pt x="589" y="153"/>
                      </a:lnTo>
                      <a:lnTo>
                        <a:pt x="593" y="166"/>
                      </a:lnTo>
                      <a:lnTo>
                        <a:pt x="593" y="178"/>
                      </a:lnTo>
                      <a:lnTo>
                        <a:pt x="593" y="190"/>
                      </a:lnTo>
                      <a:lnTo>
                        <a:pt x="589" y="194"/>
                      </a:lnTo>
                      <a:lnTo>
                        <a:pt x="572" y="222"/>
                      </a:lnTo>
                      <a:lnTo>
                        <a:pt x="560" y="242"/>
                      </a:lnTo>
                      <a:lnTo>
                        <a:pt x="548" y="246"/>
                      </a:lnTo>
                      <a:lnTo>
                        <a:pt x="548" y="258"/>
                      </a:lnTo>
                      <a:lnTo>
                        <a:pt x="544" y="270"/>
                      </a:lnTo>
                      <a:lnTo>
                        <a:pt x="544" y="291"/>
                      </a:lnTo>
                      <a:lnTo>
                        <a:pt x="544" y="303"/>
                      </a:lnTo>
                      <a:lnTo>
                        <a:pt x="548" y="307"/>
                      </a:lnTo>
                      <a:lnTo>
                        <a:pt x="556" y="311"/>
                      </a:lnTo>
                      <a:lnTo>
                        <a:pt x="568" y="311"/>
                      </a:lnTo>
                      <a:lnTo>
                        <a:pt x="585" y="315"/>
                      </a:lnTo>
                      <a:lnTo>
                        <a:pt x="605" y="307"/>
                      </a:lnTo>
                      <a:lnTo>
                        <a:pt x="649" y="295"/>
                      </a:lnTo>
                      <a:lnTo>
                        <a:pt x="661" y="283"/>
                      </a:lnTo>
                      <a:lnTo>
                        <a:pt x="669" y="278"/>
                      </a:lnTo>
                      <a:lnTo>
                        <a:pt x="669" y="258"/>
                      </a:lnTo>
                      <a:lnTo>
                        <a:pt x="673" y="242"/>
                      </a:lnTo>
                      <a:lnTo>
                        <a:pt x="677" y="242"/>
                      </a:lnTo>
                      <a:lnTo>
                        <a:pt x="681" y="234"/>
                      </a:lnTo>
                      <a:lnTo>
                        <a:pt x="714" y="206"/>
                      </a:lnTo>
                      <a:lnTo>
                        <a:pt x="722" y="190"/>
                      </a:lnTo>
                      <a:lnTo>
                        <a:pt x="730" y="186"/>
                      </a:lnTo>
                      <a:lnTo>
                        <a:pt x="734" y="178"/>
                      </a:lnTo>
                      <a:lnTo>
                        <a:pt x="742" y="178"/>
                      </a:lnTo>
                      <a:lnTo>
                        <a:pt x="750" y="178"/>
                      </a:lnTo>
                      <a:lnTo>
                        <a:pt x="754" y="182"/>
                      </a:lnTo>
                      <a:lnTo>
                        <a:pt x="758" y="182"/>
                      </a:lnTo>
                      <a:lnTo>
                        <a:pt x="762" y="186"/>
                      </a:lnTo>
                      <a:lnTo>
                        <a:pt x="762" y="194"/>
                      </a:lnTo>
                      <a:lnTo>
                        <a:pt x="790" y="218"/>
                      </a:lnTo>
                      <a:lnTo>
                        <a:pt x="819" y="242"/>
                      </a:lnTo>
                      <a:lnTo>
                        <a:pt x="847" y="242"/>
                      </a:lnTo>
                      <a:lnTo>
                        <a:pt x="875" y="246"/>
                      </a:lnTo>
                      <a:lnTo>
                        <a:pt x="875" y="258"/>
                      </a:lnTo>
                      <a:lnTo>
                        <a:pt x="879" y="270"/>
                      </a:lnTo>
                      <a:lnTo>
                        <a:pt x="883" y="278"/>
                      </a:lnTo>
                      <a:lnTo>
                        <a:pt x="891" y="291"/>
                      </a:lnTo>
                      <a:lnTo>
                        <a:pt x="899" y="295"/>
                      </a:lnTo>
                      <a:lnTo>
                        <a:pt x="911" y="303"/>
                      </a:lnTo>
                      <a:lnTo>
                        <a:pt x="927" y="307"/>
                      </a:lnTo>
                      <a:lnTo>
                        <a:pt x="948" y="311"/>
                      </a:lnTo>
                      <a:lnTo>
                        <a:pt x="960" y="311"/>
                      </a:lnTo>
                      <a:lnTo>
                        <a:pt x="980" y="311"/>
                      </a:lnTo>
                      <a:lnTo>
                        <a:pt x="984" y="307"/>
                      </a:lnTo>
                      <a:lnTo>
                        <a:pt x="988" y="295"/>
                      </a:lnTo>
                      <a:lnTo>
                        <a:pt x="1008" y="295"/>
                      </a:lnTo>
                      <a:lnTo>
                        <a:pt x="1061" y="303"/>
                      </a:lnTo>
                      <a:lnTo>
                        <a:pt x="1061" y="307"/>
                      </a:lnTo>
                      <a:lnTo>
                        <a:pt x="1065" y="307"/>
                      </a:lnTo>
                      <a:lnTo>
                        <a:pt x="1065" y="331"/>
                      </a:lnTo>
                      <a:lnTo>
                        <a:pt x="1069" y="347"/>
                      </a:lnTo>
                      <a:lnTo>
                        <a:pt x="1077" y="355"/>
                      </a:lnTo>
                      <a:lnTo>
                        <a:pt x="1093" y="363"/>
                      </a:lnTo>
                      <a:lnTo>
                        <a:pt x="1101" y="367"/>
                      </a:lnTo>
                      <a:lnTo>
                        <a:pt x="1113" y="367"/>
                      </a:lnTo>
                      <a:lnTo>
                        <a:pt x="1113" y="379"/>
                      </a:lnTo>
                      <a:lnTo>
                        <a:pt x="1117" y="387"/>
                      </a:lnTo>
                      <a:lnTo>
                        <a:pt x="1101" y="391"/>
                      </a:lnTo>
                      <a:lnTo>
                        <a:pt x="1089" y="400"/>
                      </a:lnTo>
                      <a:lnTo>
                        <a:pt x="1077" y="420"/>
                      </a:lnTo>
                      <a:lnTo>
                        <a:pt x="1053" y="432"/>
                      </a:lnTo>
                      <a:lnTo>
                        <a:pt x="1053" y="452"/>
                      </a:lnTo>
                      <a:lnTo>
                        <a:pt x="1049" y="476"/>
                      </a:lnTo>
                      <a:lnTo>
                        <a:pt x="1061" y="496"/>
                      </a:lnTo>
                      <a:lnTo>
                        <a:pt x="1061" y="512"/>
                      </a:lnTo>
                      <a:lnTo>
                        <a:pt x="1053" y="521"/>
                      </a:lnTo>
                      <a:lnTo>
                        <a:pt x="1049" y="529"/>
                      </a:lnTo>
                      <a:lnTo>
                        <a:pt x="1040" y="545"/>
                      </a:lnTo>
                      <a:lnTo>
                        <a:pt x="1028" y="549"/>
                      </a:lnTo>
                      <a:lnTo>
                        <a:pt x="1016" y="585"/>
                      </a:lnTo>
                      <a:lnTo>
                        <a:pt x="1000" y="629"/>
                      </a:lnTo>
                      <a:lnTo>
                        <a:pt x="996" y="646"/>
                      </a:lnTo>
                      <a:lnTo>
                        <a:pt x="988" y="650"/>
                      </a:lnTo>
                      <a:lnTo>
                        <a:pt x="988" y="662"/>
                      </a:lnTo>
                      <a:lnTo>
                        <a:pt x="984" y="678"/>
                      </a:lnTo>
                      <a:lnTo>
                        <a:pt x="984" y="694"/>
                      </a:lnTo>
                      <a:lnTo>
                        <a:pt x="984" y="714"/>
                      </a:lnTo>
                      <a:lnTo>
                        <a:pt x="996" y="714"/>
                      </a:lnTo>
                      <a:lnTo>
                        <a:pt x="1000" y="714"/>
                      </a:lnTo>
                      <a:lnTo>
                        <a:pt x="1012" y="702"/>
                      </a:lnTo>
                      <a:lnTo>
                        <a:pt x="1024" y="690"/>
                      </a:lnTo>
                      <a:lnTo>
                        <a:pt x="1036" y="690"/>
                      </a:lnTo>
                      <a:lnTo>
                        <a:pt x="1053" y="690"/>
                      </a:lnTo>
                      <a:lnTo>
                        <a:pt x="1061" y="698"/>
                      </a:lnTo>
                      <a:lnTo>
                        <a:pt x="1065" y="706"/>
                      </a:lnTo>
                      <a:lnTo>
                        <a:pt x="1077" y="746"/>
                      </a:lnTo>
                      <a:lnTo>
                        <a:pt x="1085" y="783"/>
                      </a:lnTo>
                      <a:lnTo>
                        <a:pt x="1105" y="799"/>
                      </a:lnTo>
                      <a:lnTo>
                        <a:pt x="1117" y="803"/>
                      </a:lnTo>
                      <a:lnTo>
                        <a:pt x="1121" y="811"/>
                      </a:lnTo>
                      <a:lnTo>
                        <a:pt x="1125" y="819"/>
                      </a:lnTo>
                      <a:lnTo>
                        <a:pt x="1137" y="823"/>
                      </a:lnTo>
                      <a:lnTo>
                        <a:pt x="1145" y="827"/>
                      </a:lnTo>
                      <a:lnTo>
                        <a:pt x="1153" y="839"/>
                      </a:lnTo>
                      <a:lnTo>
                        <a:pt x="1170" y="851"/>
                      </a:lnTo>
                      <a:lnTo>
                        <a:pt x="1170" y="868"/>
                      </a:lnTo>
                      <a:lnTo>
                        <a:pt x="1174" y="872"/>
                      </a:lnTo>
                      <a:lnTo>
                        <a:pt x="1174" y="876"/>
                      </a:lnTo>
                      <a:lnTo>
                        <a:pt x="1174" y="880"/>
                      </a:lnTo>
                      <a:lnTo>
                        <a:pt x="1165" y="888"/>
                      </a:lnTo>
                      <a:lnTo>
                        <a:pt x="1149" y="892"/>
                      </a:lnTo>
                      <a:lnTo>
                        <a:pt x="1141" y="896"/>
                      </a:lnTo>
                      <a:lnTo>
                        <a:pt x="1137" y="904"/>
                      </a:lnTo>
                      <a:lnTo>
                        <a:pt x="1129" y="912"/>
                      </a:lnTo>
                      <a:lnTo>
                        <a:pt x="1125" y="928"/>
                      </a:lnTo>
                      <a:lnTo>
                        <a:pt x="1121" y="932"/>
                      </a:lnTo>
                      <a:lnTo>
                        <a:pt x="1117" y="932"/>
                      </a:lnTo>
                      <a:lnTo>
                        <a:pt x="1105" y="932"/>
                      </a:lnTo>
                      <a:lnTo>
                        <a:pt x="1085" y="912"/>
                      </a:lnTo>
                      <a:lnTo>
                        <a:pt x="1077" y="908"/>
                      </a:lnTo>
                      <a:lnTo>
                        <a:pt x="1061" y="908"/>
                      </a:lnTo>
                      <a:lnTo>
                        <a:pt x="1044" y="908"/>
                      </a:lnTo>
                      <a:lnTo>
                        <a:pt x="1036" y="908"/>
                      </a:lnTo>
                      <a:lnTo>
                        <a:pt x="1028" y="912"/>
                      </a:lnTo>
                      <a:lnTo>
                        <a:pt x="1028" y="924"/>
                      </a:lnTo>
                      <a:lnTo>
                        <a:pt x="1024" y="932"/>
                      </a:lnTo>
                      <a:lnTo>
                        <a:pt x="1016" y="936"/>
                      </a:lnTo>
                      <a:lnTo>
                        <a:pt x="1012" y="944"/>
                      </a:lnTo>
                      <a:lnTo>
                        <a:pt x="1008" y="948"/>
                      </a:lnTo>
                      <a:lnTo>
                        <a:pt x="1008" y="956"/>
                      </a:lnTo>
                      <a:lnTo>
                        <a:pt x="996" y="964"/>
                      </a:lnTo>
                      <a:lnTo>
                        <a:pt x="996" y="972"/>
                      </a:lnTo>
                      <a:lnTo>
                        <a:pt x="964" y="972"/>
                      </a:lnTo>
                      <a:lnTo>
                        <a:pt x="944" y="97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ru-RU" sz="800" b="1"/>
                </a:p>
              </p:txBody>
            </p:sp>
            <p:sp>
              <p:nvSpPr>
                <p:cNvPr id="106" name="Freeform 55"/>
                <p:cNvSpPr>
                  <a:spLocks/>
                </p:cNvSpPr>
                <p:nvPr/>
              </p:nvSpPr>
              <p:spPr bwMode="auto">
                <a:xfrm>
                  <a:off x="7478122" y="2743001"/>
                  <a:ext cx="413207" cy="176444"/>
                </a:xfrm>
                <a:custGeom>
                  <a:avLst/>
                  <a:gdLst>
                    <a:gd name="T0" fmla="*/ 892 w 460"/>
                    <a:gd name="T1" fmla="*/ 417 h 198"/>
                    <a:gd name="T2" fmla="*/ 884 w 460"/>
                    <a:gd name="T3" fmla="*/ 400 h 198"/>
                    <a:gd name="T4" fmla="*/ 912 w 460"/>
                    <a:gd name="T5" fmla="*/ 366 h 198"/>
                    <a:gd name="T6" fmla="*/ 920 w 460"/>
                    <a:gd name="T7" fmla="*/ 252 h 198"/>
                    <a:gd name="T8" fmla="*/ 912 w 460"/>
                    <a:gd name="T9" fmla="*/ 140 h 198"/>
                    <a:gd name="T10" fmla="*/ 875 w 460"/>
                    <a:gd name="T11" fmla="*/ 105 h 198"/>
                    <a:gd name="T12" fmla="*/ 832 w 460"/>
                    <a:gd name="T13" fmla="*/ 80 h 198"/>
                    <a:gd name="T14" fmla="*/ 772 w 460"/>
                    <a:gd name="T15" fmla="*/ 62 h 198"/>
                    <a:gd name="T16" fmla="*/ 737 w 460"/>
                    <a:gd name="T17" fmla="*/ 62 h 198"/>
                    <a:gd name="T18" fmla="*/ 703 w 460"/>
                    <a:gd name="T19" fmla="*/ 97 h 198"/>
                    <a:gd name="T20" fmla="*/ 677 w 460"/>
                    <a:gd name="T21" fmla="*/ 105 h 198"/>
                    <a:gd name="T22" fmla="*/ 598 w 460"/>
                    <a:gd name="T23" fmla="*/ 80 h 198"/>
                    <a:gd name="T24" fmla="*/ 555 w 460"/>
                    <a:gd name="T25" fmla="*/ 62 h 198"/>
                    <a:gd name="T26" fmla="*/ 460 w 460"/>
                    <a:gd name="T27" fmla="*/ 80 h 198"/>
                    <a:gd name="T28" fmla="*/ 443 w 460"/>
                    <a:gd name="T29" fmla="*/ 140 h 198"/>
                    <a:gd name="T30" fmla="*/ 434 w 460"/>
                    <a:gd name="T31" fmla="*/ 200 h 198"/>
                    <a:gd name="T32" fmla="*/ 381 w 460"/>
                    <a:gd name="T33" fmla="*/ 174 h 198"/>
                    <a:gd name="T34" fmla="*/ 277 w 460"/>
                    <a:gd name="T35" fmla="*/ 157 h 198"/>
                    <a:gd name="T36" fmla="*/ 226 w 460"/>
                    <a:gd name="T37" fmla="*/ 166 h 198"/>
                    <a:gd name="T38" fmla="*/ 191 w 460"/>
                    <a:gd name="T39" fmla="*/ 174 h 198"/>
                    <a:gd name="T40" fmla="*/ 174 w 460"/>
                    <a:gd name="T41" fmla="*/ 166 h 198"/>
                    <a:gd name="T42" fmla="*/ 34 w 460"/>
                    <a:gd name="T43" fmla="*/ 140 h 198"/>
                    <a:gd name="T44" fmla="*/ 0 w 460"/>
                    <a:gd name="T45" fmla="*/ 97 h 198"/>
                    <a:gd name="T46" fmla="*/ 17 w 460"/>
                    <a:gd name="T47" fmla="*/ 62 h 198"/>
                    <a:gd name="T48" fmla="*/ 103 w 460"/>
                    <a:gd name="T49" fmla="*/ 28 h 198"/>
                    <a:gd name="T50" fmla="*/ 252 w 460"/>
                    <a:gd name="T51" fmla="*/ 19 h 198"/>
                    <a:gd name="T52" fmla="*/ 417 w 460"/>
                    <a:gd name="T53" fmla="*/ 28 h 198"/>
                    <a:gd name="T54" fmla="*/ 581 w 460"/>
                    <a:gd name="T55" fmla="*/ 45 h 198"/>
                    <a:gd name="T56" fmla="*/ 660 w 460"/>
                    <a:gd name="T57" fmla="*/ 45 h 198"/>
                    <a:gd name="T58" fmla="*/ 712 w 460"/>
                    <a:gd name="T59" fmla="*/ 28 h 198"/>
                    <a:gd name="T60" fmla="*/ 720 w 460"/>
                    <a:gd name="T61" fmla="*/ 28 h 198"/>
                    <a:gd name="T62" fmla="*/ 823 w 460"/>
                    <a:gd name="T63" fmla="*/ 28 h 198"/>
                    <a:gd name="T64" fmla="*/ 884 w 460"/>
                    <a:gd name="T65" fmla="*/ 0 h 198"/>
                    <a:gd name="T66" fmla="*/ 946 w 460"/>
                    <a:gd name="T67" fmla="*/ 0 h 198"/>
                    <a:gd name="T68" fmla="*/ 972 w 460"/>
                    <a:gd name="T69" fmla="*/ 80 h 198"/>
                    <a:gd name="T70" fmla="*/ 972 w 460"/>
                    <a:gd name="T71" fmla="*/ 200 h 198"/>
                    <a:gd name="T72" fmla="*/ 989 w 460"/>
                    <a:gd name="T73" fmla="*/ 262 h 198"/>
                    <a:gd name="T74" fmla="*/ 989 w 460"/>
                    <a:gd name="T75" fmla="*/ 306 h 198"/>
                    <a:gd name="T76" fmla="*/ 972 w 460"/>
                    <a:gd name="T77" fmla="*/ 340 h 198"/>
                    <a:gd name="T78" fmla="*/ 946 w 460"/>
                    <a:gd name="T79" fmla="*/ 366 h 198"/>
                    <a:gd name="T80" fmla="*/ 937 w 460"/>
                    <a:gd name="T81" fmla="*/ 426 h 198"/>
                    <a:gd name="T82" fmla="*/ 912 w 460"/>
                    <a:gd name="T83" fmla="*/ 426 h 198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0"/>
                    <a:gd name="T127" fmla="*/ 0 h 198"/>
                    <a:gd name="T128" fmla="*/ 460 w 460"/>
                    <a:gd name="T129" fmla="*/ 198 h 198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0" h="198">
                      <a:moveTo>
                        <a:pt x="424" y="198"/>
                      </a:moveTo>
                      <a:lnTo>
                        <a:pt x="415" y="194"/>
                      </a:lnTo>
                      <a:lnTo>
                        <a:pt x="411" y="190"/>
                      </a:lnTo>
                      <a:lnTo>
                        <a:pt x="411" y="186"/>
                      </a:lnTo>
                      <a:lnTo>
                        <a:pt x="411" y="178"/>
                      </a:lnTo>
                      <a:lnTo>
                        <a:pt x="424" y="170"/>
                      </a:lnTo>
                      <a:lnTo>
                        <a:pt x="428" y="158"/>
                      </a:lnTo>
                      <a:lnTo>
                        <a:pt x="428" y="117"/>
                      </a:lnTo>
                      <a:lnTo>
                        <a:pt x="424" y="77"/>
                      </a:lnTo>
                      <a:lnTo>
                        <a:pt x="424" y="65"/>
                      </a:lnTo>
                      <a:lnTo>
                        <a:pt x="415" y="57"/>
                      </a:lnTo>
                      <a:lnTo>
                        <a:pt x="407" y="49"/>
                      </a:lnTo>
                      <a:lnTo>
                        <a:pt x="403" y="45"/>
                      </a:lnTo>
                      <a:lnTo>
                        <a:pt x="387" y="37"/>
                      </a:lnTo>
                      <a:lnTo>
                        <a:pt x="379" y="29"/>
                      </a:lnTo>
                      <a:lnTo>
                        <a:pt x="359" y="29"/>
                      </a:lnTo>
                      <a:lnTo>
                        <a:pt x="347" y="29"/>
                      </a:lnTo>
                      <a:lnTo>
                        <a:pt x="343" y="29"/>
                      </a:lnTo>
                      <a:lnTo>
                        <a:pt x="335" y="33"/>
                      </a:lnTo>
                      <a:lnTo>
                        <a:pt x="327" y="45"/>
                      </a:lnTo>
                      <a:lnTo>
                        <a:pt x="319" y="49"/>
                      </a:lnTo>
                      <a:lnTo>
                        <a:pt x="315" y="49"/>
                      </a:lnTo>
                      <a:lnTo>
                        <a:pt x="311" y="49"/>
                      </a:lnTo>
                      <a:lnTo>
                        <a:pt x="278" y="37"/>
                      </a:lnTo>
                      <a:lnTo>
                        <a:pt x="274" y="33"/>
                      </a:lnTo>
                      <a:lnTo>
                        <a:pt x="258" y="29"/>
                      </a:lnTo>
                      <a:lnTo>
                        <a:pt x="230" y="29"/>
                      </a:lnTo>
                      <a:lnTo>
                        <a:pt x="214" y="37"/>
                      </a:lnTo>
                      <a:lnTo>
                        <a:pt x="210" y="45"/>
                      </a:lnTo>
                      <a:lnTo>
                        <a:pt x="206" y="65"/>
                      </a:lnTo>
                      <a:lnTo>
                        <a:pt x="206" y="93"/>
                      </a:lnTo>
                      <a:lnTo>
                        <a:pt x="202" y="93"/>
                      </a:lnTo>
                      <a:lnTo>
                        <a:pt x="194" y="93"/>
                      </a:lnTo>
                      <a:lnTo>
                        <a:pt x="177" y="81"/>
                      </a:lnTo>
                      <a:lnTo>
                        <a:pt x="153" y="73"/>
                      </a:lnTo>
                      <a:lnTo>
                        <a:pt x="129" y="73"/>
                      </a:lnTo>
                      <a:lnTo>
                        <a:pt x="105" y="73"/>
                      </a:lnTo>
                      <a:lnTo>
                        <a:pt x="105" y="77"/>
                      </a:lnTo>
                      <a:lnTo>
                        <a:pt x="101" y="81"/>
                      </a:lnTo>
                      <a:lnTo>
                        <a:pt x="89" y="81"/>
                      </a:lnTo>
                      <a:lnTo>
                        <a:pt x="85" y="81"/>
                      </a:lnTo>
                      <a:lnTo>
                        <a:pt x="81" y="77"/>
                      </a:lnTo>
                      <a:lnTo>
                        <a:pt x="44" y="69"/>
                      </a:lnTo>
                      <a:lnTo>
                        <a:pt x="16" y="65"/>
                      </a:lnTo>
                      <a:lnTo>
                        <a:pt x="12" y="57"/>
                      </a:lnTo>
                      <a:lnTo>
                        <a:pt x="0" y="45"/>
                      </a:lnTo>
                      <a:lnTo>
                        <a:pt x="0" y="37"/>
                      </a:lnTo>
                      <a:lnTo>
                        <a:pt x="8" y="29"/>
                      </a:lnTo>
                      <a:lnTo>
                        <a:pt x="24" y="21"/>
                      </a:lnTo>
                      <a:lnTo>
                        <a:pt x="48" y="13"/>
                      </a:lnTo>
                      <a:lnTo>
                        <a:pt x="81" y="9"/>
                      </a:lnTo>
                      <a:lnTo>
                        <a:pt x="117" y="9"/>
                      </a:lnTo>
                      <a:lnTo>
                        <a:pt x="157" y="13"/>
                      </a:lnTo>
                      <a:lnTo>
                        <a:pt x="194" y="13"/>
                      </a:lnTo>
                      <a:lnTo>
                        <a:pt x="230" y="13"/>
                      </a:lnTo>
                      <a:lnTo>
                        <a:pt x="270" y="21"/>
                      </a:lnTo>
                      <a:lnTo>
                        <a:pt x="282" y="21"/>
                      </a:lnTo>
                      <a:lnTo>
                        <a:pt x="307" y="21"/>
                      </a:lnTo>
                      <a:lnTo>
                        <a:pt x="319" y="13"/>
                      </a:lnTo>
                      <a:lnTo>
                        <a:pt x="331" y="13"/>
                      </a:lnTo>
                      <a:lnTo>
                        <a:pt x="335" y="13"/>
                      </a:lnTo>
                      <a:lnTo>
                        <a:pt x="359" y="13"/>
                      </a:lnTo>
                      <a:lnTo>
                        <a:pt x="383" y="13"/>
                      </a:lnTo>
                      <a:lnTo>
                        <a:pt x="399" y="9"/>
                      </a:lnTo>
                      <a:lnTo>
                        <a:pt x="411" y="0"/>
                      </a:lnTo>
                      <a:lnTo>
                        <a:pt x="428" y="0"/>
                      </a:lnTo>
                      <a:lnTo>
                        <a:pt x="440" y="0"/>
                      </a:lnTo>
                      <a:lnTo>
                        <a:pt x="444" y="21"/>
                      </a:lnTo>
                      <a:lnTo>
                        <a:pt x="452" y="37"/>
                      </a:lnTo>
                      <a:lnTo>
                        <a:pt x="452" y="65"/>
                      </a:lnTo>
                      <a:lnTo>
                        <a:pt x="452" y="93"/>
                      </a:lnTo>
                      <a:lnTo>
                        <a:pt x="456" y="105"/>
                      </a:lnTo>
                      <a:lnTo>
                        <a:pt x="460" y="122"/>
                      </a:lnTo>
                      <a:lnTo>
                        <a:pt x="460" y="130"/>
                      </a:lnTo>
                      <a:lnTo>
                        <a:pt x="460" y="142"/>
                      </a:lnTo>
                      <a:lnTo>
                        <a:pt x="456" y="146"/>
                      </a:lnTo>
                      <a:lnTo>
                        <a:pt x="452" y="158"/>
                      </a:lnTo>
                      <a:lnTo>
                        <a:pt x="444" y="162"/>
                      </a:lnTo>
                      <a:lnTo>
                        <a:pt x="440" y="170"/>
                      </a:lnTo>
                      <a:lnTo>
                        <a:pt x="436" y="194"/>
                      </a:lnTo>
                      <a:lnTo>
                        <a:pt x="436" y="198"/>
                      </a:lnTo>
                      <a:lnTo>
                        <a:pt x="428" y="198"/>
                      </a:lnTo>
                      <a:lnTo>
                        <a:pt x="424" y="19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800" b="1">
                    <a:cs typeface="+mn-cs"/>
                  </a:endParaRPr>
                </a:p>
              </p:txBody>
            </p:sp>
          </p:grpSp>
          <p:sp>
            <p:nvSpPr>
              <p:cNvPr id="46" name="Freeform 56"/>
              <p:cNvSpPr>
                <a:spLocks/>
              </p:cNvSpPr>
              <p:nvPr/>
            </p:nvSpPr>
            <p:spPr bwMode="auto">
              <a:xfrm>
                <a:off x="3840249" y="1978197"/>
                <a:ext cx="865189" cy="937164"/>
              </a:xfrm>
              <a:custGeom>
                <a:avLst/>
                <a:gdLst>
                  <a:gd name="T0" fmla="*/ 2147483647 w 964"/>
                  <a:gd name="T1" fmla="*/ 2147483647 h 1053"/>
                  <a:gd name="T2" fmla="*/ 2147483647 w 964"/>
                  <a:gd name="T3" fmla="*/ 2147483647 h 1053"/>
                  <a:gd name="T4" fmla="*/ 2147483647 w 964"/>
                  <a:gd name="T5" fmla="*/ 2147483647 h 1053"/>
                  <a:gd name="T6" fmla="*/ 2147483647 w 964"/>
                  <a:gd name="T7" fmla="*/ 2147483647 h 1053"/>
                  <a:gd name="T8" fmla="*/ 2147483647 w 964"/>
                  <a:gd name="T9" fmla="*/ 2147483647 h 1053"/>
                  <a:gd name="T10" fmla="*/ 2147483647 w 964"/>
                  <a:gd name="T11" fmla="*/ 2147483647 h 1053"/>
                  <a:gd name="T12" fmla="*/ 2147483647 w 964"/>
                  <a:gd name="T13" fmla="*/ 2147483647 h 1053"/>
                  <a:gd name="T14" fmla="*/ 2147483647 w 964"/>
                  <a:gd name="T15" fmla="*/ 2147483647 h 1053"/>
                  <a:gd name="T16" fmla="*/ 2147483647 w 964"/>
                  <a:gd name="T17" fmla="*/ 2147483647 h 1053"/>
                  <a:gd name="T18" fmla="*/ 2147483647 w 964"/>
                  <a:gd name="T19" fmla="*/ 2147483647 h 1053"/>
                  <a:gd name="T20" fmla="*/ 2147483647 w 964"/>
                  <a:gd name="T21" fmla="*/ 2147483647 h 1053"/>
                  <a:gd name="T22" fmla="*/ 2147483647 w 964"/>
                  <a:gd name="T23" fmla="*/ 2147483647 h 1053"/>
                  <a:gd name="T24" fmla="*/ 2147483647 w 964"/>
                  <a:gd name="T25" fmla="*/ 2147483647 h 1053"/>
                  <a:gd name="T26" fmla="*/ 2147483647 w 964"/>
                  <a:gd name="T27" fmla="*/ 2147483647 h 1053"/>
                  <a:gd name="T28" fmla="*/ 2147483647 w 964"/>
                  <a:gd name="T29" fmla="*/ 2147483647 h 1053"/>
                  <a:gd name="T30" fmla="*/ 2147483647 w 964"/>
                  <a:gd name="T31" fmla="*/ 2147483647 h 1053"/>
                  <a:gd name="T32" fmla="*/ 2147483647 w 964"/>
                  <a:gd name="T33" fmla="*/ 2147483647 h 1053"/>
                  <a:gd name="T34" fmla="*/ 2147483647 w 964"/>
                  <a:gd name="T35" fmla="*/ 2147483647 h 1053"/>
                  <a:gd name="T36" fmla="*/ 0 w 964"/>
                  <a:gd name="T37" fmla="*/ 2147483647 h 1053"/>
                  <a:gd name="T38" fmla="*/ 2147483647 w 964"/>
                  <a:gd name="T39" fmla="*/ 2147483647 h 1053"/>
                  <a:gd name="T40" fmla="*/ 2147483647 w 964"/>
                  <a:gd name="T41" fmla="*/ 2147483647 h 1053"/>
                  <a:gd name="T42" fmla="*/ 2147483647 w 964"/>
                  <a:gd name="T43" fmla="*/ 2147483647 h 1053"/>
                  <a:gd name="T44" fmla="*/ 2147483647 w 964"/>
                  <a:gd name="T45" fmla="*/ 2147483647 h 1053"/>
                  <a:gd name="T46" fmla="*/ 2147483647 w 964"/>
                  <a:gd name="T47" fmla="*/ 2147483647 h 1053"/>
                  <a:gd name="T48" fmla="*/ 2147483647 w 964"/>
                  <a:gd name="T49" fmla="*/ 2147483647 h 1053"/>
                  <a:gd name="T50" fmla="*/ 2147483647 w 964"/>
                  <a:gd name="T51" fmla="*/ 2147483647 h 1053"/>
                  <a:gd name="T52" fmla="*/ 2147483647 w 964"/>
                  <a:gd name="T53" fmla="*/ 2147483647 h 1053"/>
                  <a:gd name="T54" fmla="*/ 2147483647 w 964"/>
                  <a:gd name="T55" fmla="*/ 2147483647 h 1053"/>
                  <a:gd name="T56" fmla="*/ 2147483647 w 964"/>
                  <a:gd name="T57" fmla="*/ 2147483647 h 1053"/>
                  <a:gd name="T58" fmla="*/ 2147483647 w 964"/>
                  <a:gd name="T59" fmla="*/ 2147483647 h 1053"/>
                  <a:gd name="T60" fmla="*/ 2147483647 w 964"/>
                  <a:gd name="T61" fmla="*/ 2147483647 h 1053"/>
                  <a:gd name="T62" fmla="*/ 2147483647 w 964"/>
                  <a:gd name="T63" fmla="*/ 0 h 1053"/>
                  <a:gd name="T64" fmla="*/ 2147483647 w 964"/>
                  <a:gd name="T65" fmla="*/ 2147483647 h 1053"/>
                  <a:gd name="T66" fmla="*/ 2147483647 w 964"/>
                  <a:gd name="T67" fmla="*/ 2147483647 h 1053"/>
                  <a:gd name="T68" fmla="*/ 2147483647 w 964"/>
                  <a:gd name="T69" fmla="*/ 2147483647 h 1053"/>
                  <a:gd name="T70" fmla="*/ 2147483647 w 964"/>
                  <a:gd name="T71" fmla="*/ 2147483647 h 1053"/>
                  <a:gd name="T72" fmla="*/ 2147483647 w 964"/>
                  <a:gd name="T73" fmla="*/ 2147483647 h 1053"/>
                  <a:gd name="T74" fmla="*/ 2147483647 w 964"/>
                  <a:gd name="T75" fmla="*/ 2147483647 h 1053"/>
                  <a:gd name="T76" fmla="*/ 2147483647 w 964"/>
                  <a:gd name="T77" fmla="*/ 2147483647 h 1053"/>
                  <a:gd name="T78" fmla="*/ 2147483647 w 964"/>
                  <a:gd name="T79" fmla="*/ 2147483647 h 1053"/>
                  <a:gd name="T80" fmla="*/ 2147483647 w 964"/>
                  <a:gd name="T81" fmla="*/ 2147483647 h 1053"/>
                  <a:gd name="T82" fmla="*/ 2147483647 w 964"/>
                  <a:gd name="T83" fmla="*/ 2147483647 h 1053"/>
                  <a:gd name="T84" fmla="*/ 2147483647 w 964"/>
                  <a:gd name="T85" fmla="*/ 2147483647 h 1053"/>
                  <a:gd name="T86" fmla="*/ 2147483647 w 964"/>
                  <a:gd name="T87" fmla="*/ 2147483647 h 1053"/>
                  <a:gd name="T88" fmla="*/ 2147483647 w 964"/>
                  <a:gd name="T89" fmla="*/ 2147483647 h 1053"/>
                  <a:gd name="T90" fmla="*/ 2147483647 w 964"/>
                  <a:gd name="T91" fmla="*/ 2147483647 h 1053"/>
                  <a:gd name="T92" fmla="*/ 2147483647 w 964"/>
                  <a:gd name="T93" fmla="*/ 2147483647 h 1053"/>
                  <a:gd name="T94" fmla="*/ 2147483647 w 964"/>
                  <a:gd name="T95" fmla="*/ 2147483647 h 1053"/>
                  <a:gd name="T96" fmla="*/ 2147483647 w 964"/>
                  <a:gd name="T97" fmla="*/ 2147483647 h 1053"/>
                  <a:gd name="T98" fmla="*/ 2147483647 w 964"/>
                  <a:gd name="T99" fmla="*/ 2147483647 h 1053"/>
                  <a:gd name="T100" fmla="*/ 2147483647 w 964"/>
                  <a:gd name="T101" fmla="*/ 2147483647 h 1053"/>
                  <a:gd name="T102" fmla="*/ 2147483647 w 964"/>
                  <a:gd name="T103" fmla="*/ 2147483647 h 1053"/>
                  <a:gd name="T104" fmla="*/ 2147483647 w 964"/>
                  <a:gd name="T105" fmla="*/ 2147483647 h 1053"/>
                  <a:gd name="T106" fmla="*/ 2147483647 w 964"/>
                  <a:gd name="T107" fmla="*/ 2147483647 h 1053"/>
                  <a:gd name="T108" fmla="*/ 2147483647 w 964"/>
                  <a:gd name="T109" fmla="*/ 2147483647 h 1053"/>
                  <a:gd name="T110" fmla="*/ 2147483647 w 964"/>
                  <a:gd name="T111" fmla="*/ 2147483647 h 1053"/>
                  <a:gd name="T112" fmla="*/ 2147483647 w 964"/>
                  <a:gd name="T113" fmla="*/ 2147483647 h 1053"/>
                  <a:gd name="T114" fmla="*/ 2147483647 w 964"/>
                  <a:gd name="T115" fmla="*/ 2147483647 h 1053"/>
                  <a:gd name="T116" fmla="*/ 2147483647 w 964"/>
                  <a:gd name="T117" fmla="*/ 2147483647 h 1053"/>
                  <a:gd name="T118" fmla="*/ 2147483647 w 964"/>
                  <a:gd name="T119" fmla="*/ 2147483647 h 1053"/>
                  <a:gd name="T120" fmla="*/ 2147483647 w 964"/>
                  <a:gd name="T121" fmla="*/ 2147483647 h 1053"/>
                  <a:gd name="T122" fmla="*/ 2147483647 w 964"/>
                  <a:gd name="T123" fmla="*/ 2147483647 h 1053"/>
                  <a:gd name="T124" fmla="*/ 2147483647 w 964"/>
                  <a:gd name="T125" fmla="*/ 2147483647 h 105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964"/>
                  <a:gd name="T190" fmla="*/ 0 h 1053"/>
                  <a:gd name="T191" fmla="*/ 964 w 964"/>
                  <a:gd name="T192" fmla="*/ 1053 h 105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964" h="1053">
                    <a:moveTo>
                      <a:pt x="645" y="1053"/>
                    </a:moveTo>
                    <a:lnTo>
                      <a:pt x="637" y="1045"/>
                    </a:lnTo>
                    <a:lnTo>
                      <a:pt x="629" y="1029"/>
                    </a:lnTo>
                    <a:lnTo>
                      <a:pt x="629" y="1021"/>
                    </a:lnTo>
                    <a:lnTo>
                      <a:pt x="629" y="1005"/>
                    </a:lnTo>
                    <a:lnTo>
                      <a:pt x="625" y="989"/>
                    </a:lnTo>
                    <a:lnTo>
                      <a:pt x="613" y="968"/>
                    </a:lnTo>
                    <a:lnTo>
                      <a:pt x="609" y="964"/>
                    </a:lnTo>
                    <a:lnTo>
                      <a:pt x="601" y="956"/>
                    </a:lnTo>
                    <a:lnTo>
                      <a:pt x="581" y="948"/>
                    </a:lnTo>
                    <a:lnTo>
                      <a:pt x="556" y="932"/>
                    </a:lnTo>
                    <a:lnTo>
                      <a:pt x="520" y="932"/>
                    </a:lnTo>
                    <a:lnTo>
                      <a:pt x="476" y="932"/>
                    </a:lnTo>
                    <a:lnTo>
                      <a:pt x="460" y="924"/>
                    </a:lnTo>
                    <a:lnTo>
                      <a:pt x="447" y="920"/>
                    </a:lnTo>
                    <a:lnTo>
                      <a:pt x="443" y="908"/>
                    </a:lnTo>
                    <a:lnTo>
                      <a:pt x="435" y="896"/>
                    </a:lnTo>
                    <a:lnTo>
                      <a:pt x="419" y="884"/>
                    </a:lnTo>
                    <a:lnTo>
                      <a:pt x="415" y="876"/>
                    </a:lnTo>
                    <a:lnTo>
                      <a:pt x="395" y="876"/>
                    </a:lnTo>
                    <a:lnTo>
                      <a:pt x="383" y="876"/>
                    </a:lnTo>
                    <a:lnTo>
                      <a:pt x="379" y="872"/>
                    </a:lnTo>
                    <a:lnTo>
                      <a:pt x="363" y="868"/>
                    </a:lnTo>
                    <a:lnTo>
                      <a:pt x="363" y="847"/>
                    </a:lnTo>
                    <a:lnTo>
                      <a:pt x="363" y="819"/>
                    </a:lnTo>
                    <a:lnTo>
                      <a:pt x="359" y="807"/>
                    </a:lnTo>
                    <a:lnTo>
                      <a:pt x="355" y="803"/>
                    </a:lnTo>
                    <a:lnTo>
                      <a:pt x="326" y="771"/>
                    </a:lnTo>
                    <a:lnTo>
                      <a:pt x="302" y="755"/>
                    </a:lnTo>
                    <a:lnTo>
                      <a:pt x="302" y="751"/>
                    </a:lnTo>
                    <a:lnTo>
                      <a:pt x="298" y="747"/>
                    </a:lnTo>
                    <a:lnTo>
                      <a:pt x="278" y="747"/>
                    </a:lnTo>
                    <a:lnTo>
                      <a:pt x="262" y="738"/>
                    </a:lnTo>
                    <a:lnTo>
                      <a:pt x="250" y="734"/>
                    </a:lnTo>
                    <a:lnTo>
                      <a:pt x="238" y="726"/>
                    </a:lnTo>
                    <a:lnTo>
                      <a:pt x="209" y="678"/>
                    </a:lnTo>
                    <a:lnTo>
                      <a:pt x="189" y="658"/>
                    </a:lnTo>
                    <a:lnTo>
                      <a:pt x="185" y="650"/>
                    </a:lnTo>
                    <a:lnTo>
                      <a:pt x="185" y="638"/>
                    </a:lnTo>
                    <a:lnTo>
                      <a:pt x="173" y="625"/>
                    </a:lnTo>
                    <a:lnTo>
                      <a:pt x="165" y="613"/>
                    </a:lnTo>
                    <a:lnTo>
                      <a:pt x="157" y="609"/>
                    </a:lnTo>
                    <a:lnTo>
                      <a:pt x="153" y="605"/>
                    </a:lnTo>
                    <a:lnTo>
                      <a:pt x="141" y="593"/>
                    </a:lnTo>
                    <a:lnTo>
                      <a:pt x="137" y="585"/>
                    </a:lnTo>
                    <a:lnTo>
                      <a:pt x="125" y="577"/>
                    </a:lnTo>
                    <a:lnTo>
                      <a:pt x="105" y="569"/>
                    </a:lnTo>
                    <a:lnTo>
                      <a:pt x="88" y="553"/>
                    </a:lnTo>
                    <a:lnTo>
                      <a:pt x="72" y="541"/>
                    </a:lnTo>
                    <a:lnTo>
                      <a:pt x="60" y="537"/>
                    </a:lnTo>
                    <a:lnTo>
                      <a:pt x="52" y="537"/>
                    </a:lnTo>
                    <a:lnTo>
                      <a:pt x="44" y="529"/>
                    </a:lnTo>
                    <a:lnTo>
                      <a:pt x="32" y="517"/>
                    </a:lnTo>
                    <a:lnTo>
                      <a:pt x="20" y="504"/>
                    </a:lnTo>
                    <a:lnTo>
                      <a:pt x="8" y="492"/>
                    </a:lnTo>
                    <a:lnTo>
                      <a:pt x="8" y="480"/>
                    </a:lnTo>
                    <a:lnTo>
                      <a:pt x="0" y="460"/>
                    </a:lnTo>
                    <a:lnTo>
                      <a:pt x="20" y="448"/>
                    </a:lnTo>
                    <a:lnTo>
                      <a:pt x="36" y="428"/>
                    </a:lnTo>
                    <a:lnTo>
                      <a:pt x="56" y="412"/>
                    </a:lnTo>
                    <a:lnTo>
                      <a:pt x="84" y="400"/>
                    </a:lnTo>
                    <a:lnTo>
                      <a:pt x="88" y="391"/>
                    </a:lnTo>
                    <a:lnTo>
                      <a:pt x="88" y="383"/>
                    </a:lnTo>
                    <a:lnTo>
                      <a:pt x="88" y="371"/>
                    </a:lnTo>
                    <a:lnTo>
                      <a:pt x="88" y="355"/>
                    </a:lnTo>
                    <a:lnTo>
                      <a:pt x="97" y="355"/>
                    </a:lnTo>
                    <a:lnTo>
                      <a:pt x="97" y="351"/>
                    </a:lnTo>
                    <a:lnTo>
                      <a:pt x="97" y="327"/>
                    </a:lnTo>
                    <a:lnTo>
                      <a:pt x="97" y="311"/>
                    </a:lnTo>
                    <a:lnTo>
                      <a:pt x="88" y="303"/>
                    </a:lnTo>
                    <a:lnTo>
                      <a:pt x="88" y="266"/>
                    </a:lnTo>
                    <a:lnTo>
                      <a:pt x="88" y="262"/>
                    </a:lnTo>
                    <a:lnTo>
                      <a:pt x="88" y="250"/>
                    </a:lnTo>
                    <a:lnTo>
                      <a:pt x="88" y="246"/>
                    </a:lnTo>
                    <a:lnTo>
                      <a:pt x="88" y="242"/>
                    </a:lnTo>
                    <a:lnTo>
                      <a:pt x="157" y="242"/>
                    </a:lnTo>
                    <a:lnTo>
                      <a:pt x="193" y="238"/>
                    </a:lnTo>
                    <a:lnTo>
                      <a:pt x="209" y="226"/>
                    </a:lnTo>
                    <a:lnTo>
                      <a:pt x="230" y="218"/>
                    </a:lnTo>
                    <a:lnTo>
                      <a:pt x="238" y="218"/>
                    </a:lnTo>
                    <a:lnTo>
                      <a:pt x="246" y="214"/>
                    </a:lnTo>
                    <a:lnTo>
                      <a:pt x="254" y="206"/>
                    </a:lnTo>
                    <a:lnTo>
                      <a:pt x="262" y="198"/>
                    </a:lnTo>
                    <a:lnTo>
                      <a:pt x="262" y="178"/>
                    </a:lnTo>
                    <a:lnTo>
                      <a:pt x="262" y="157"/>
                    </a:lnTo>
                    <a:lnTo>
                      <a:pt x="254" y="153"/>
                    </a:lnTo>
                    <a:lnTo>
                      <a:pt x="250" y="149"/>
                    </a:lnTo>
                    <a:lnTo>
                      <a:pt x="246" y="117"/>
                    </a:lnTo>
                    <a:lnTo>
                      <a:pt x="238" y="89"/>
                    </a:lnTo>
                    <a:lnTo>
                      <a:pt x="238" y="73"/>
                    </a:lnTo>
                    <a:lnTo>
                      <a:pt x="238" y="57"/>
                    </a:lnTo>
                    <a:lnTo>
                      <a:pt x="238" y="49"/>
                    </a:lnTo>
                    <a:lnTo>
                      <a:pt x="238" y="40"/>
                    </a:lnTo>
                    <a:lnTo>
                      <a:pt x="254" y="20"/>
                    </a:lnTo>
                    <a:lnTo>
                      <a:pt x="274" y="0"/>
                    </a:lnTo>
                    <a:lnTo>
                      <a:pt x="290" y="0"/>
                    </a:lnTo>
                    <a:lnTo>
                      <a:pt x="306" y="0"/>
                    </a:lnTo>
                    <a:lnTo>
                      <a:pt x="318" y="8"/>
                    </a:lnTo>
                    <a:lnTo>
                      <a:pt x="326" y="20"/>
                    </a:lnTo>
                    <a:lnTo>
                      <a:pt x="330" y="24"/>
                    </a:lnTo>
                    <a:lnTo>
                      <a:pt x="335" y="36"/>
                    </a:lnTo>
                    <a:lnTo>
                      <a:pt x="339" y="36"/>
                    </a:lnTo>
                    <a:lnTo>
                      <a:pt x="347" y="40"/>
                    </a:lnTo>
                    <a:lnTo>
                      <a:pt x="383" y="40"/>
                    </a:lnTo>
                    <a:lnTo>
                      <a:pt x="415" y="40"/>
                    </a:lnTo>
                    <a:lnTo>
                      <a:pt x="431" y="57"/>
                    </a:lnTo>
                    <a:lnTo>
                      <a:pt x="439" y="65"/>
                    </a:lnTo>
                    <a:lnTo>
                      <a:pt x="452" y="85"/>
                    </a:lnTo>
                    <a:lnTo>
                      <a:pt x="460" y="109"/>
                    </a:lnTo>
                    <a:lnTo>
                      <a:pt x="468" y="117"/>
                    </a:lnTo>
                    <a:lnTo>
                      <a:pt x="468" y="125"/>
                    </a:lnTo>
                    <a:lnTo>
                      <a:pt x="476" y="137"/>
                    </a:lnTo>
                    <a:lnTo>
                      <a:pt x="484" y="153"/>
                    </a:lnTo>
                    <a:lnTo>
                      <a:pt x="496" y="153"/>
                    </a:lnTo>
                    <a:lnTo>
                      <a:pt x="500" y="157"/>
                    </a:lnTo>
                    <a:lnTo>
                      <a:pt x="524" y="182"/>
                    </a:lnTo>
                    <a:lnTo>
                      <a:pt x="532" y="190"/>
                    </a:lnTo>
                    <a:lnTo>
                      <a:pt x="556" y="202"/>
                    </a:lnTo>
                    <a:lnTo>
                      <a:pt x="581" y="210"/>
                    </a:lnTo>
                    <a:lnTo>
                      <a:pt x="593" y="226"/>
                    </a:lnTo>
                    <a:lnTo>
                      <a:pt x="609" y="246"/>
                    </a:lnTo>
                    <a:lnTo>
                      <a:pt x="613" y="262"/>
                    </a:lnTo>
                    <a:lnTo>
                      <a:pt x="617" y="274"/>
                    </a:lnTo>
                    <a:lnTo>
                      <a:pt x="625" y="287"/>
                    </a:lnTo>
                    <a:lnTo>
                      <a:pt x="629" y="303"/>
                    </a:lnTo>
                    <a:lnTo>
                      <a:pt x="645" y="303"/>
                    </a:lnTo>
                    <a:lnTo>
                      <a:pt x="661" y="303"/>
                    </a:lnTo>
                    <a:lnTo>
                      <a:pt x="673" y="291"/>
                    </a:lnTo>
                    <a:lnTo>
                      <a:pt x="690" y="279"/>
                    </a:lnTo>
                    <a:lnTo>
                      <a:pt x="702" y="279"/>
                    </a:lnTo>
                    <a:lnTo>
                      <a:pt x="718" y="279"/>
                    </a:lnTo>
                    <a:lnTo>
                      <a:pt x="722" y="279"/>
                    </a:lnTo>
                    <a:lnTo>
                      <a:pt x="726" y="279"/>
                    </a:lnTo>
                    <a:lnTo>
                      <a:pt x="742" y="299"/>
                    </a:lnTo>
                    <a:lnTo>
                      <a:pt x="758" y="319"/>
                    </a:lnTo>
                    <a:lnTo>
                      <a:pt x="766" y="323"/>
                    </a:lnTo>
                    <a:lnTo>
                      <a:pt x="766" y="331"/>
                    </a:lnTo>
                    <a:lnTo>
                      <a:pt x="770" y="339"/>
                    </a:lnTo>
                    <a:lnTo>
                      <a:pt x="782" y="351"/>
                    </a:lnTo>
                    <a:lnTo>
                      <a:pt x="802" y="355"/>
                    </a:lnTo>
                    <a:lnTo>
                      <a:pt x="819" y="359"/>
                    </a:lnTo>
                    <a:lnTo>
                      <a:pt x="835" y="367"/>
                    </a:lnTo>
                    <a:lnTo>
                      <a:pt x="843" y="375"/>
                    </a:lnTo>
                    <a:lnTo>
                      <a:pt x="847" y="379"/>
                    </a:lnTo>
                    <a:lnTo>
                      <a:pt x="847" y="387"/>
                    </a:lnTo>
                    <a:lnTo>
                      <a:pt x="851" y="448"/>
                    </a:lnTo>
                    <a:lnTo>
                      <a:pt x="851" y="504"/>
                    </a:lnTo>
                    <a:lnTo>
                      <a:pt x="855" y="517"/>
                    </a:lnTo>
                    <a:lnTo>
                      <a:pt x="859" y="521"/>
                    </a:lnTo>
                    <a:lnTo>
                      <a:pt x="859" y="537"/>
                    </a:lnTo>
                    <a:lnTo>
                      <a:pt x="859" y="553"/>
                    </a:lnTo>
                    <a:lnTo>
                      <a:pt x="855" y="553"/>
                    </a:lnTo>
                    <a:lnTo>
                      <a:pt x="851" y="553"/>
                    </a:lnTo>
                    <a:lnTo>
                      <a:pt x="851" y="577"/>
                    </a:lnTo>
                    <a:lnTo>
                      <a:pt x="851" y="601"/>
                    </a:lnTo>
                    <a:lnTo>
                      <a:pt x="855" y="605"/>
                    </a:lnTo>
                    <a:lnTo>
                      <a:pt x="859" y="609"/>
                    </a:lnTo>
                    <a:lnTo>
                      <a:pt x="879" y="617"/>
                    </a:lnTo>
                    <a:lnTo>
                      <a:pt x="899" y="625"/>
                    </a:lnTo>
                    <a:lnTo>
                      <a:pt x="899" y="674"/>
                    </a:lnTo>
                    <a:lnTo>
                      <a:pt x="903" y="718"/>
                    </a:lnTo>
                    <a:lnTo>
                      <a:pt x="911" y="726"/>
                    </a:lnTo>
                    <a:lnTo>
                      <a:pt x="924" y="734"/>
                    </a:lnTo>
                    <a:lnTo>
                      <a:pt x="948" y="759"/>
                    </a:lnTo>
                    <a:lnTo>
                      <a:pt x="964" y="783"/>
                    </a:lnTo>
                    <a:lnTo>
                      <a:pt x="964" y="831"/>
                    </a:lnTo>
                    <a:lnTo>
                      <a:pt x="964" y="880"/>
                    </a:lnTo>
                    <a:lnTo>
                      <a:pt x="948" y="888"/>
                    </a:lnTo>
                    <a:lnTo>
                      <a:pt x="936" y="904"/>
                    </a:lnTo>
                    <a:lnTo>
                      <a:pt x="919" y="904"/>
                    </a:lnTo>
                    <a:lnTo>
                      <a:pt x="899" y="904"/>
                    </a:lnTo>
                    <a:lnTo>
                      <a:pt x="899" y="908"/>
                    </a:lnTo>
                    <a:lnTo>
                      <a:pt x="895" y="908"/>
                    </a:lnTo>
                    <a:lnTo>
                      <a:pt x="871" y="916"/>
                    </a:lnTo>
                    <a:lnTo>
                      <a:pt x="855" y="924"/>
                    </a:lnTo>
                    <a:lnTo>
                      <a:pt x="851" y="928"/>
                    </a:lnTo>
                    <a:lnTo>
                      <a:pt x="847" y="932"/>
                    </a:lnTo>
                    <a:lnTo>
                      <a:pt x="843" y="952"/>
                    </a:lnTo>
                    <a:lnTo>
                      <a:pt x="843" y="968"/>
                    </a:lnTo>
                    <a:lnTo>
                      <a:pt x="835" y="972"/>
                    </a:lnTo>
                    <a:lnTo>
                      <a:pt x="823" y="981"/>
                    </a:lnTo>
                    <a:lnTo>
                      <a:pt x="802" y="989"/>
                    </a:lnTo>
                    <a:lnTo>
                      <a:pt x="786" y="997"/>
                    </a:lnTo>
                    <a:lnTo>
                      <a:pt x="766" y="1013"/>
                    </a:lnTo>
                    <a:lnTo>
                      <a:pt x="750" y="1021"/>
                    </a:lnTo>
                    <a:lnTo>
                      <a:pt x="722" y="1041"/>
                    </a:lnTo>
                    <a:lnTo>
                      <a:pt x="690" y="1053"/>
                    </a:lnTo>
                    <a:lnTo>
                      <a:pt x="669" y="1053"/>
                    </a:lnTo>
                    <a:lnTo>
                      <a:pt x="645" y="105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 sz="800" b="1">
                  <a:cs typeface="+mn-cs"/>
                </a:endParaRPr>
              </a:p>
            </p:txBody>
          </p:sp>
          <p:grpSp>
            <p:nvGrpSpPr>
              <p:cNvPr id="47" name="Group 57"/>
              <p:cNvGrpSpPr>
                <a:grpSpLocks/>
              </p:cNvGrpSpPr>
              <p:nvPr/>
            </p:nvGrpSpPr>
            <p:grpSpPr bwMode="auto">
              <a:xfrm>
                <a:off x="1258995" y="2276736"/>
                <a:ext cx="1301772" cy="1170644"/>
                <a:chOff x="4014" y="4240"/>
                <a:chExt cx="3114" cy="2828"/>
              </a:xfrm>
              <a:solidFill>
                <a:srgbClr val="FFD1A3"/>
              </a:solidFill>
              <a:effectLst/>
            </p:grpSpPr>
            <p:sp>
              <p:nvSpPr>
                <p:cNvPr id="103" name="Freeform 58"/>
                <p:cNvSpPr>
                  <a:spLocks/>
                </p:cNvSpPr>
                <p:nvPr/>
              </p:nvSpPr>
              <p:spPr bwMode="auto">
                <a:xfrm>
                  <a:off x="4014" y="5584"/>
                  <a:ext cx="1804" cy="1484"/>
                </a:xfrm>
                <a:custGeom>
                  <a:avLst/>
                  <a:gdLst>
                    <a:gd name="T0" fmla="*/ 150 w 839"/>
                    <a:gd name="T1" fmla="*/ 670 h 690"/>
                    <a:gd name="T2" fmla="*/ 129 w 839"/>
                    <a:gd name="T3" fmla="*/ 622 h 690"/>
                    <a:gd name="T4" fmla="*/ 170 w 839"/>
                    <a:gd name="T5" fmla="*/ 565 h 690"/>
                    <a:gd name="T6" fmla="*/ 166 w 839"/>
                    <a:gd name="T7" fmla="*/ 501 h 690"/>
                    <a:gd name="T8" fmla="*/ 134 w 839"/>
                    <a:gd name="T9" fmla="*/ 489 h 690"/>
                    <a:gd name="T10" fmla="*/ 97 w 839"/>
                    <a:gd name="T11" fmla="*/ 456 h 690"/>
                    <a:gd name="T12" fmla="*/ 77 w 839"/>
                    <a:gd name="T13" fmla="*/ 412 h 690"/>
                    <a:gd name="T14" fmla="*/ 17 w 839"/>
                    <a:gd name="T15" fmla="*/ 428 h 690"/>
                    <a:gd name="T16" fmla="*/ 0 w 839"/>
                    <a:gd name="T17" fmla="*/ 400 h 690"/>
                    <a:gd name="T18" fmla="*/ 17 w 839"/>
                    <a:gd name="T19" fmla="*/ 343 h 690"/>
                    <a:gd name="T20" fmla="*/ 69 w 839"/>
                    <a:gd name="T21" fmla="*/ 315 h 690"/>
                    <a:gd name="T22" fmla="*/ 85 w 839"/>
                    <a:gd name="T23" fmla="*/ 230 h 690"/>
                    <a:gd name="T24" fmla="*/ 105 w 839"/>
                    <a:gd name="T25" fmla="*/ 226 h 690"/>
                    <a:gd name="T26" fmla="*/ 105 w 839"/>
                    <a:gd name="T27" fmla="*/ 255 h 690"/>
                    <a:gd name="T28" fmla="*/ 113 w 839"/>
                    <a:gd name="T29" fmla="*/ 323 h 690"/>
                    <a:gd name="T30" fmla="*/ 150 w 839"/>
                    <a:gd name="T31" fmla="*/ 323 h 690"/>
                    <a:gd name="T32" fmla="*/ 182 w 839"/>
                    <a:gd name="T33" fmla="*/ 242 h 690"/>
                    <a:gd name="T34" fmla="*/ 230 w 839"/>
                    <a:gd name="T35" fmla="*/ 226 h 690"/>
                    <a:gd name="T36" fmla="*/ 259 w 839"/>
                    <a:gd name="T37" fmla="*/ 242 h 690"/>
                    <a:gd name="T38" fmla="*/ 291 w 839"/>
                    <a:gd name="T39" fmla="*/ 250 h 690"/>
                    <a:gd name="T40" fmla="*/ 323 w 839"/>
                    <a:gd name="T41" fmla="*/ 190 h 690"/>
                    <a:gd name="T42" fmla="*/ 355 w 839"/>
                    <a:gd name="T43" fmla="*/ 85 h 690"/>
                    <a:gd name="T44" fmla="*/ 339 w 839"/>
                    <a:gd name="T45" fmla="*/ 49 h 690"/>
                    <a:gd name="T46" fmla="*/ 343 w 839"/>
                    <a:gd name="T47" fmla="*/ 4 h 690"/>
                    <a:gd name="T48" fmla="*/ 376 w 839"/>
                    <a:gd name="T49" fmla="*/ 4 h 690"/>
                    <a:gd name="T50" fmla="*/ 412 w 839"/>
                    <a:gd name="T51" fmla="*/ 45 h 690"/>
                    <a:gd name="T52" fmla="*/ 501 w 839"/>
                    <a:gd name="T53" fmla="*/ 61 h 690"/>
                    <a:gd name="T54" fmla="*/ 537 w 839"/>
                    <a:gd name="T55" fmla="*/ 53 h 690"/>
                    <a:gd name="T56" fmla="*/ 569 w 839"/>
                    <a:gd name="T57" fmla="*/ 21 h 690"/>
                    <a:gd name="T58" fmla="*/ 626 w 839"/>
                    <a:gd name="T59" fmla="*/ 37 h 690"/>
                    <a:gd name="T60" fmla="*/ 759 w 839"/>
                    <a:gd name="T61" fmla="*/ 61 h 690"/>
                    <a:gd name="T62" fmla="*/ 839 w 839"/>
                    <a:gd name="T63" fmla="*/ 125 h 690"/>
                    <a:gd name="T64" fmla="*/ 743 w 839"/>
                    <a:gd name="T65" fmla="*/ 158 h 690"/>
                    <a:gd name="T66" fmla="*/ 731 w 839"/>
                    <a:gd name="T67" fmla="*/ 218 h 690"/>
                    <a:gd name="T68" fmla="*/ 727 w 839"/>
                    <a:gd name="T69" fmla="*/ 267 h 690"/>
                    <a:gd name="T70" fmla="*/ 702 w 839"/>
                    <a:gd name="T71" fmla="*/ 307 h 690"/>
                    <a:gd name="T72" fmla="*/ 650 w 839"/>
                    <a:gd name="T73" fmla="*/ 359 h 690"/>
                    <a:gd name="T74" fmla="*/ 610 w 839"/>
                    <a:gd name="T75" fmla="*/ 376 h 690"/>
                    <a:gd name="T76" fmla="*/ 585 w 839"/>
                    <a:gd name="T77" fmla="*/ 388 h 690"/>
                    <a:gd name="T78" fmla="*/ 593 w 839"/>
                    <a:gd name="T79" fmla="*/ 428 h 690"/>
                    <a:gd name="T80" fmla="*/ 597 w 839"/>
                    <a:gd name="T81" fmla="*/ 460 h 690"/>
                    <a:gd name="T82" fmla="*/ 593 w 839"/>
                    <a:gd name="T83" fmla="*/ 497 h 690"/>
                    <a:gd name="T84" fmla="*/ 610 w 839"/>
                    <a:gd name="T85" fmla="*/ 521 h 690"/>
                    <a:gd name="T86" fmla="*/ 597 w 839"/>
                    <a:gd name="T87" fmla="*/ 545 h 690"/>
                    <a:gd name="T88" fmla="*/ 561 w 839"/>
                    <a:gd name="T89" fmla="*/ 593 h 690"/>
                    <a:gd name="T90" fmla="*/ 529 w 839"/>
                    <a:gd name="T91" fmla="*/ 650 h 690"/>
                    <a:gd name="T92" fmla="*/ 484 w 839"/>
                    <a:gd name="T93" fmla="*/ 662 h 690"/>
                    <a:gd name="T94" fmla="*/ 359 w 839"/>
                    <a:gd name="T95" fmla="*/ 650 h 690"/>
                    <a:gd name="T96" fmla="*/ 295 w 839"/>
                    <a:gd name="T97" fmla="*/ 642 h 690"/>
                    <a:gd name="T98" fmla="*/ 259 w 839"/>
                    <a:gd name="T99" fmla="*/ 654 h 690"/>
                    <a:gd name="T100" fmla="*/ 198 w 839"/>
                    <a:gd name="T101" fmla="*/ 690 h 690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839"/>
                    <a:gd name="T154" fmla="*/ 0 h 690"/>
                    <a:gd name="T155" fmla="*/ 839 w 839"/>
                    <a:gd name="T156" fmla="*/ 690 h 690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839" h="690">
                      <a:moveTo>
                        <a:pt x="174" y="690"/>
                      </a:moveTo>
                      <a:lnTo>
                        <a:pt x="174" y="686"/>
                      </a:lnTo>
                      <a:lnTo>
                        <a:pt x="170" y="678"/>
                      </a:lnTo>
                      <a:lnTo>
                        <a:pt x="150" y="670"/>
                      </a:lnTo>
                      <a:lnTo>
                        <a:pt x="134" y="658"/>
                      </a:lnTo>
                      <a:lnTo>
                        <a:pt x="129" y="658"/>
                      </a:lnTo>
                      <a:lnTo>
                        <a:pt x="129" y="650"/>
                      </a:lnTo>
                      <a:lnTo>
                        <a:pt x="129" y="622"/>
                      </a:lnTo>
                      <a:lnTo>
                        <a:pt x="134" y="589"/>
                      </a:lnTo>
                      <a:lnTo>
                        <a:pt x="150" y="581"/>
                      </a:lnTo>
                      <a:lnTo>
                        <a:pt x="170" y="565"/>
                      </a:lnTo>
                      <a:lnTo>
                        <a:pt x="174" y="557"/>
                      </a:lnTo>
                      <a:lnTo>
                        <a:pt x="174" y="529"/>
                      </a:lnTo>
                      <a:lnTo>
                        <a:pt x="174" y="501"/>
                      </a:lnTo>
                      <a:lnTo>
                        <a:pt x="166" y="501"/>
                      </a:lnTo>
                      <a:lnTo>
                        <a:pt x="150" y="497"/>
                      </a:lnTo>
                      <a:lnTo>
                        <a:pt x="146" y="493"/>
                      </a:lnTo>
                      <a:lnTo>
                        <a:pt x="142" y="489"/>
                      </a:lnTo>
                      <a:lnTo>
                        <a:pt x="134" y="489"/>
                      </a:lnTo>
                      <a:lnTo>
                        <a:pt x="117" y="489"/>
                      </a:lnTo>
                      <a:lnTo>
                        <a:pt x="113" y="484"/>
                      </a:lnTo>
                      <a:lnTo>
                        <a:pt x="97" y="476"/>
                      </a:lnTo>
                      <a:lnTo>
                        <a:pt x="97" y="456"/>
                      </a:lnTo>
                      <a:lnTo>
                        <a:pt x="97" y="428"/>
                      </a:lnTo>
                      <a:lnTo>
                        <a:pt x="89" y="420"/>
                      </a:lnTo>
                      <a:lnTo>
                        <a:pt x="81" y="412"/>
                      </a:lnTo>
                      <a:lnTo>
                        <a:pt x="77" y="412"/>
                      </a:lnTo>
                      <a:lnTo>
                        <a:pt x="65" y="412"/>
                      </a:lnTo>
                      <a:lnTo>
                        <a:pt x="41" y="420"/>
                      </a:lnTo>
                      <a:lnTo>
                        <a:pt x="21" y="428"/>
                      </a:lnTo>
                      <a:lnTo>
                        <a:pt x="17" y="428"/>
                      </a:lnTo>
                      <a:lnTo>
                        <a:pt x="12" y="428"/>
                      </a:lnTo>
                      <a:lnTo>
                        <a:pt x="4" y="428"/>
                      </a:lnTo>
                      <a:lnTo>
                        <a:pt x="4" y="420"/>
                      </a:lnTo>
                      <a:lnTo>
                        <a:pt x="0" y="400"/>
                      </a:lnTo>
                      <a:lnTo>
                        <a:pt x="0" y="388"/>
                      </a:lnTo>
                      <a:lnTo>
                        <a:pt x="4" y="372"/>
                      </a:lnTo>
                      <a:lnTo>
                        <a:pt x="4" y="351"/>
                      </a:lnTo>
                      <a:lnTo>
                        <a:pt x="17" y="343"/>
                      </a:lnTo>
                      <a:lnTo>
                        <a:pt x="29" y="339"/>
                      </a:lnTo>
                      <a:lnTo>
                        <a:pt x="41" y="335"/>
                      </a:lnTo>
                      <a:lnTo>
                        <a:pt x="57" y="331"/>
                      </a:lnTo>
                      <a:lnTo>
                        <a:pt x="69" y="315"/>
                      </a:lnTo>
                      <a:lnTo>
                        <a:pt x="81" y="299"/>
                      </a:lnTo>
                      <a:lnTo>
                        <a:pt x="81" y="267"/>
                      </a:lnTo>
                      <a:lnTo>
                        <a:pt x="81" y="238"/>
                      </a:lnTo>
                      <a:lnTo>
                        <a:pt x="85" y="230"/>
                      </a:lnTo>
                      <a:lnTo>
                        <a:pt x="85" y="226"/>
                      </a:lnTo>
                      <a:lnTo>
                        <a:pt x="93" y="226"/>
                      </a:lnTo>
                      <a:lnTo>
                        <a:pt x="97" y="226"/>
                      </a:lnTo>
                      <a:lnTo>
                        <a:pt x="105" y="226"/>
                      </a:lnTo>
                      <a:lnTo>
                        <a:pt x="109" y="230"/>
                      </a:lnTo>
                      <a:lnTo>
                        <a:pt x="109" y="238"/>
                      </a:lnTo>
                      <a:lnTo>
                        <a:pt x="109" y="242"/>
                      </a:lnTo>
                      <a:lnTo>
                        <a:pt x="105" y="255"/>
                      </a:lnTo>
                      <a:lnTo>
                        <a:pt x="97" y="263"/>
                      </a:lnTo>
                      <a:lnTo>
                        <a:pt x="97" y="299"/>
                      </a:lnTo>
                      <a:lnTo>
                        <a:pt x="105" y="315"/>
                      </a:lnTo>
                      <a:lnTo>
                        <a:pt x="113" y="323"/>
                      </a:lnTo>
                      <a:lnTo>
                        <a:pt x="121" y="323"/>
                      </a:lnTo>
                      <a:lnTo>
                        <a:pt x="134" y="323"/>
                      </a:lnTo>
                      <a:lnTo>
                        <a:pt x="142" y="323"/>
                      </a:lnTo>
                      <a:lnTo>
                        <a:pt x="150" y="323"/>
                      </a:lnTo>
                      <a:lnTo>
                        <a:pt x="162" y="315"/>
                      </a:lnTo>
                      <a:lnTo>
                        <a:pt x="166" y="311"/>
                      </a:lnTo>
                      <a:lnTo>
                        <a:pt x="174" y="275"/>
                      </a:lnTo>
                      <a:lnTo>
                        <a:pt x="182" y="242"/>
                      </a:lnTo>
                      <a:lnTo>
                        <a:pt x="186" y="230"/>
                      </a:lnTo>
                      <a:lnTo>
                        <a:pt x="194" y="226"/>
                      </a:lnTo>
                      <a:lnTo>
                        <a:pt x="218" y="226"/>
                      </a:lnTo>
                      <a:lnTo>
                        <a:pt x="230" y="226"/>
                      </a:lnTo>
                      <a:lnTo>
                        <a:pt x="234" y="230"/>
                      </a:lnTo>
                      <a:lnTo>
                        <a:pt x="234" y="238"/>
                      </a:lnTo>
                      <a:lnTo>
                        <a:pt x="246" y="242"/>
                      </a:lnTo>
                      <a:lnTo>
                        <a:pt x="259" y="242"/>
                      </a:lnTo>
                      <a:lnTo>
                        <a:pt x="263" y="246"/>
                      </a:lnTo>
                      <a:lnTo>
                        <a:pt x="271" y="246"/>
                      </a:lnTo>
                      <a:lnTo>
                        <a:pt x="279" y="250"/>
                      </a:lnTo>
                      <a:lnTo>
                        <a:pt x="291" y="250"/>
                      </a:lnTo>
                      <a:lnTo>
                        <a:pt x="307" y="250"/>
                      </a:lnTo>
                      <a:lnTo>
                        <a:pt x="315" y="238"/>
                      </a:lnTo>
                      <a:lnTo>
                        <a:pt x="323" y="226"/>
                      </a:lnTo>
                      <a:lnTo>
                        <a:pt x="323" y="190"/>
                      </a:lnTo>
                      <a:lnTo>
                        <a:pt x="315" y="146"/>
                      </a:lnTo>
                      <a:lnTo>
                        <a:pt x="335" y="121"/>
                      </a:lnTo>
                      <a:lnTo>
                        <a:pt x="355" y="97"/>
                      </a:lnTo>
                      <a:lnTo>
                        <a:pt x="355" y="85"/>
                      </a:lnTo>
                      <a:lnTo>
                        <a:pt x="355" y="69"/>
                      </a:lnTo>
                      <a:lnTo>
                        <a:pt x="347" y="65"/>
                      </a:lnTo>
                      <a:lnTo>
                        <a:pt x="343" y="61"/>
                      </a:lnTo>
                      <a:lnTo>
                        <a:pt x="339" y="49"/>
                      </a:lnTo>
                      <a:lnTo>
                        <a:pt x="339" y="41"/>
                      </a:lnTo>
                      <a:lnTo>
                        <a:pt x="339" y="21"/>
                      </a:lnTo>
                      <a:lnTo>
                        <a:pt x="339" y="8"/>
                      </a:lnTo>
                      <a:lnTo>
                        <a:pt x="343" y="4"/>
                      </a:lnTo>
                      <a:lnTo>
                        <a:pt x="355" y="0"/>
                      </a:lnTo>
                      <a:lnTo>
                        <a:pt x="359" y="0"/>
                      </a:lnTo>
                      <a:lnTo>
                        <a:pt x="367" y="0"/>
                      </a:lnTo>
                      <a:lnTo>
                        <a:pt x="376" y="4"/>
                      </a:lnTo>
                      <a:lnTo>
                        <a:pt x="388" y="12"/>
                      </a:lnTo>
                      <a:lnTo>
                        <a:pt x="392" y="25"/>
                      </a:lnTo>
                      <a:lnTo>
                        <a:pt x="400" y="41"/>
                      </a:lnTo>
                      <a:lnTo>
                        <a:pt x="412" y="45"/>
                      </a:lnTo>
                      <a:lnTo>
                        <a:pt x="420" y="53"/>
                      </a:lnTo>
                      <a:lnTo>
                        <a:pt x="452" y="57"/>
                      </a:lnTo>
                      <a:lnTo>
                        <a:pt x="489" y="61"/>
                      </a:lnTo>
                      <a:lnTo>
                        <a:pt x="501" y="61"/>
                      </a:lnTo>
                      <a:lnTo>
                        <a:pt x="509" y="61"/>
                      </a:lnTo>
                      <a:lnTo>
                        <a:pt x="517" y="61"/>
                      </a:lnTo>
                      <a:lnTo>
                        <a:pt x="537" y="57"/>
                      </a:lnTo>
                      <a:lnTo>
                        <a:pt x="537" y="53"/>
                      </a:lnTo>
                      <a:lnTo>
                        <a:pt x="541" y="49"/>
                      </a:lnTo>
                      <a:lnTo>
                        <a:pt x="541" y="37"/>
                      </a:lnTo>
                      <a:lnTo>
                        <a:pt x="537" y="21"/>
                      </a:lnTo>
                      <a:lnTo>
                        <a:pt x="569" y="21"/>
                      </a:lnTo>
                      <a:lnTo>
                        <a:pt x="597" y="25"/>
                      </a:lnTo>
                      <a:lnTo>
                        <a:pt x="606" y="25"/>
                      </a:lnTo>
                      <a:lnTo>
                        <a:pt x="606" y="29"/>
                      </a:lnTo>
                      <a:lnTo>
                        <a:pt x="626" y="37"/>
                      </a:lnTo>
                      <a:lnTo>
                        <a:pt x="658" y="45"/>
                      </a:lnTo>
                      <a:lnTo>
                        <a:pt x="698" y="49"/>
                      </a:lnTo>
                      <a:lnTo>
                        <a:pt x="743" y="57"/>
                      </a:lnTo>
                      <a:lnTo>
                        <a:pt x="759" y="61"/>
                      </a:lnTo>
                      <a:lnTo>
                        <a:pt x="779" y="69"/>
                      </a:lnTo>
                      <a:lnTo>
                        <a:pt x="819" y="101"/>
                      </a:lnTo>
                      <a:lnTo>
                        <a:pt x="839" y="121"/>
                      </a:lnTo>
                      <a:lnTo>
                        <a:pt x="839" y="125"/>
                      </a:lnTo>
                      <a:lnTo>
                        <a:pt x="831" y="129"/>
                      </a:lnTo>
                      <a:lnTo>
                        <a:pt x="807" y="133"/>
                      </a:lnTo>
                      <a:lnTo>
                        <a:pt x="759" y="142"/>
                      </a:lnTo>
                      <a:lnTo>
                        <a:pt x="743" y="158"/>
                      </a:lnTo>
                      <a:lnTo>
                        <a:pt x="735" y="166"/>
                      </a:lnTo>
                      <a:lnTo>
                        <a:pt x="731" y="194"/>
                      </a:lnTo>
                      <a:lnTo>
                        <a:pt x="727" y="214"/>
                      </a:lnTo>
                      <a:lnTo>
                        <a:pt x="731" y="218"/>
                      </a:lnTo>
                      <a:lnTo>
                        <a:pt x="735" y="222"/>
                      </a:lnTo>
                      <a:lnTo>
                        <a:pt x="735" y="238"/>
                      </a:lnTo>
                      <a:lnTo>
                        <a:pt x="735" y="250"/>
                      </a:lnTo>
                      <a:lnTo>
                        <a:pt x="727" y="267"/>
                      </a:lnTo>
                      <a:lnTo>
                        <a:pt x="722" y="279"/>
                      </a:lnTo>
                      <a:lnTo>
                        <a:pt x="710" y="291"/>
                      </a:lnTo>
                      <a:lnTo>
                        <a:pt x="702" y="299"/>
                      </a:lnTo>
                      <a:lnTo>
                        <a:pt x="702" y="307"/>
                      </a:lnTo>
                      <a:lnTo>
                        <a:pt x="698" y="315"/>
                      </a:lnTo>
                      <a:lnTo>
                        <a:pt x="682" y="335"/>
                      </a:lnTo>
                      <a:lnTo>
                        <a:pt x="666" y="347"/>
                      </a:lnTo>
                      <a:lnTo>
                        <a:pt x="650" y="359"/>
                      </a:lnTo>
                      <a:lnTo>
                        <a:pt x="630" y="363"/>
                      </a:lnTo>
                      <a:lnTo>
                        <a:pt x="622" y="363"/>
                      </a:lnTo>
                      <a:lnTo>
                        <a:pt x="614" y="372"/>
                      </a:lnTo>
                      <a:lnTo>
                        <a:pt x="610" y="376"/>
                      </a:lnTo>
                      <a:lnTo>
                        <a:pt x="597" y="380"/>
                      </a:lnTo>
                      <a:lnTo>
                        <a:pt x="593" y="384"/>
                      </a:lnTo>
                      <a:lnTo>
                        <a:pt x="589" y="384"/>
                      </a:lnTo>
                      <a:lnTo>
                        <a:pt x="585" y="388"/>
                      </a:lnTo>
                      <a:lnTo>
                        <a:pt x="581" y="396"/>
                      </a:lnTo>
                      <a:lnTo>
                        <a:pt x="581" y="400"/>
                      </a:lnTo>
                      <a:lnTo>
                        <a:pt x="581" y="412"/>
                      </a:lnTo>
                      <a:lnTo>
                        <a:pt x="593" y="428"/>
                      </a:lnTo>
                      <a:lnTo>
                        <a:pt x="606" y="444"/>
                      </a:lnTo>
                      <a:lnTo>
                        <a:pt x="606" y="448"/>
                      </a:lnTo>
                      <a:lnTo>
                        <a:pt x="606" y="452"/>
                      </a:lnTo>
                      <a:lnTo>
                        <a:pt x="597" y="460"/>
                      </a:lnTo>
                      <a:lnTo>
                        <a:pt x="589" y="468"/>
                      </a:lnTo>
                      <a:lnTo>
                        <a:pt x="589" y="484"/>
                      </a:lnTo>
                      <a:lnTo>
                        <a:pt x="589" y="497"/>
                      </a:lnTo>
                      <a:lnTo>
                        <a:pt x="593" y="497"/>
                      </a:lnTo>
                      <a:lnTo>
                        <a:pt x="597" y="501"/>
                      </a:lnTo>
                      <a:lnTo>
                        <a:pt x="597" y="509"/>
                      </a:lnTo>
                      <a:lnTo>
                        <a:pt x="597" y="517"/>
                      </a:lnTo>
                      <a:lnTo>
                        <a:pt x="610" y="521"/>
                      </a:lnTo>
                      <a:lnTo>
                        <a:pt x="614" y="529"/>
                      </a:lnTo>
                      <a:lnTo>
                        <a:pt x="618" y="537"/>
                      </a:lnTo>
                      <a:lnTo>
                        <a:pt x="618" y="545"/>
                      </a:lnTo>
                      <a:lnTo>
                        <a:pt x="597" y="545"/>
                      </a:lnTo>
                      <a:lnTo>
                        <a:pt x="585" y="545"/>
                      </a:lnTo>
                      <a:lnTo>
                        <a:pt x="573" y="553"/>
                      </a:lnTo>
                      <a:lnTo>
                        <a:pt x="569" y="565"/>
                      </a:lnTo>
                      <a:lnTo>
                        <a:pt x="561" y="593"/>
                      </a:lnTo>
                      <a:lnTo>
                        <a:pt x="557" y="626"/>
                      </a:lnTo>
                      <a:lnTo>
                        <a:pt x="545" y="634"/>
                      </a:lnTo>
                      <a:lnTo>
                        <a:pt x="533" y="642"/>
                      </a:lnTo>
                      <a:lnTo>
                        <a:pt x="529" y="650"/>
                      </a:lnTo>
                      <a:lnTo>
                        <a:pt x="521" y="654"/>
                      </a:lnTo>
                      <a:lnTo>
                        <a:pt x="517" y="658"/>
                      </a:lnTo>
                      <a:lnTo>
                        <a:pt x="505" y="658"/>
                      </a:lnTo>
                      <a:lnTo>
                        <a:pt x="484" y="662"/>
                      </a:lnTo>
                      <a:lnTo>
                        <a:pt x="452" y="662"/>
                      </a:lnTo>
                      <a:lnTo>
                        <a:pt x="416" y="662"/>
                      </a:lnTo>
                      <a:lnTo>
                        <a:pt x="388" y="658"/>
                      </a:lnTo>
                      <a:lnTo>
                        <a:pt x="359" y="650"/>
                      </a:lnTo>
                      <a:lnTo>
                        <a:pt x="339" y="642"/>
                      </a:lnTo>
                      <a:lnTo>
                        <a:pt x="323" y="642"/>
                      </a:lnTo>
                      <a:lnTo>
                        <a:pt x="295" y="642"/>
                      </a:lnTo>
                      <a:lnTo>
                        <a:pt x="271" y="634"/>
                      </a:lnTo>
                      <a:lnTo>
                        <a:pt x="271" y="642"/>
                      </a:lnTo>
                      <a:lnTo>
                        <a:pt x="263" y="642"/>
                      </a:lnTo>
                      <a:lnTo>
                        <a:pt x="259" y="654"/>
                      </a:lnTo>
                      <a:lnTo>
                        <a:pt x="255" y="666"/>
                      </a:lnTo>
                      <a:lnTo>
                        <a:pt x="238" y="674"/>
                      </a:lnTo>
                      <a:lnTo>
                        <a:pt x="222" y="686"/>
                      </a:lnTo>
                      <a:lnTo>
                        <a:pt x="198" y="690"/>
                      </a:lnTo>
                      <a:lnTo>
                        <a:pt x="174" y="690"/>
                      </a:ln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ru-RU" sz="800" b="1"/>
                </a:p>
              </p:txBody>
            </p:sp>
            <p:sp>
              <p:nvSpPr>
                <p:cNvPr id="104" name="Freeform 59"/>
                <p:cNvSpPr>
                  <a:spLocks/>
                </p:cNvSpPr>
                <p:nvPr/>
              </p:nvSpPr>
              <p:spPr bwMode="auto">
                <a:xfrm>
                  <a:off x="5168" y="4240"/>
                  <a:ext cx="1960" cy="1344"/>
                </a:xfrm>
                <a:custGeom>
                  <a:avLst/>
                  <a:gdLst>
                    <a:gd name="T0" fmla="*/ 541 w 912"/>
                    <a:gd name="T1" fmla="*/ 613 h 625"/>
                    <a:gd name="T2" fmla="*/ 504 w 912"/>
                    <a:gd name="T3" fmla="*/ 605 h 625"/>
                    <a:gd name="T4" fmla="*/ 383 w 912"/>
                    <a:gd name="T5" fmla="*/ 593 h 625"/>
                    <a:gd name="T6" fmla="*/ 343 w 912"/>
                    <a:gd name="T7" fmla="*/ 581 h 625"/>
                    <a:gd name="T8" fmla="*/ 282 w 912"/>
                    <a:gd name="T9" fmla="*/ 569 h 625"/>
                    <a:gd name="T10" fmla="*/ 198 w 912"/>
                    <a:gd name="T11" fmla="*/ 553 h 625"/>
                    <a:gd name="T12" fmla="*/ 161 w 912"/>
                    <a:gd name="T13" fmla="*/ 549 h 625"/>
                    <a:gd name="T14" fmla="*/ 121 w 912"/>
                    <a:gd name="T15" fmla="*/ 541 h 625"/>
                    <a:gd name="T16" fmla="*/ 73 w 912"/>
                    <a:gd name="T17" fmla="*/ 533 h 625"/>
                    <a:gd name="T18" fmla="*/ 36 w 912"/>
                    <a:gd name="T19" fmla="*/ 504 h 625"/>
                    <a:gd name="T20" fmla="*/ 24 w 912"/>
                    <a:gd name="T21" fmla="*/ 488 h 625"/>
                    <a:gd name="T22" fmla="*/ 0 w 912"/>
                    <a:gd name="T23" fmla="*/ 472 h 625"/>
                    <a:gd name="T24" fmla="*/ 4 w 912"/>
                    <a:gd name="T25" fmla="*/ 440 h 625"/>
                    <a:gd name="T26" fmla="*/ 8 w 912"/>
                    <a:gd name="T27" fmla="*/ 420 h 625"/>
                    <a:gd name="T28" fmla="*/ 24 w 912"/>
                    <a:gd name="T29" fmla="*/ 399 h 625"/>
                    <a:gd name="T30" fmla="*/ 77 w 912"/>
                    <a:gd name="T31" fmla="*/ 367 h 625"/>
                    <a:gd name="T32" fmla="*/ 109 w 912"/>
                    <a:gd name="T33" fmla="*/ 351 h 625"/>
                    <a:gd name="T34" fmla="*/ 161 w 912"/>
                    <a:gd name="T35" fmla="*/ 339 h 625"/>
                    <a:gd name="T36" fmla="*/ 238 w 912"/>
                    <a:gd name="T37" fmla="*/ 323 h 625"/>
                    <a:gd name="T38" fmla="*/ 294 w 912"/>
                    <a:gd name="T39" fmla="*/ 331 h 625"/>
                    <a:gd name="T40" fmla="*/ 347 w 912"/>
                    <a:gd name="T41" fmla="*/ 339 h 625"/>
                    <a:gd name="T42" fmla="*/ 367 w 912"/>
                    <a:gd name="T43" fmla="*/ 319 h 625"/>
                    <a:gd name="T44" fmla="*/ 395 w 912"/>
                    <a:gd name="T45" fmla="*/ 290 h 625"/>
                    <a:gd name="T46" fmla="*/ 415 w 912"/>
                    <a:gd name="T47" fmla="*/ 230 h 625"/>
                    <a:gd name="T48" fmla="*/ 428 w 912"/>
                    <a:gd name="T49" fmla="*/ 157 h 625"/>
                    <a:gd name="T50" fmla="*/ 415 w 912"/>
                    <a:gd name="T51" fmla="*/ 137 h 625"/>
                    <a:gd name="T52" fmla="*/ 399 w 912"/>
                    <a:gd name="T53" fmla="*/ 125 h 625"/>
                    <a:gd name="T54" fmla="*/ 371 w 912"/>
                    <a:gd name="T55" fmla="*/ 89 h 625"/>
                    <a:gd name="T56" fmla="*/ 399 w 912"/>
                    <a:gd name="T57" fmla="*/ 69 h 625"/>
                    <a:gd name="T58" fmla="*/ 415 w 912"/>
                    <a:gd name="T59" fmla="*/ 36 h 625"/>
                    <a:gd name="T60" fmla="*/ 424 w 912"/>
                    <a:gd name="T61" fmla="*/ 0 h 625"/>
                    <a:gd name="T62" fmla="*/ 452 w 912"/>
                    <a:gd name="T63" fmla="*/ 16 h 625"/>
                    <a:gd name="T64" fmla="*/ 528 w 912"/>
                    <a:gd name="T65" fmla="*/ 28 h 625"/>
                    <a:gd name="T66" fmla="*/ 637 w 912"/>
                    <a:gd name="T67" fmla="*/ 65 h 625"/>
                    <a:gd name="T68" fmla="*/ 678 w 912"/>
                    <a:gd name="T69" fmla="*/ 121 h 625"/>
                    <a:gd name="T70" fmla="*/ 706 w 912"/>
                    <a:gd name="T71" fmla="*/ 137 h 625"/>
                    <a:gd name="T72" fmla="*/ 738 w 912"/>
                    <a:gd name="T73" fmla="*/ 145 h 625"/>
                    <a:gd name="T74" fmla="*/ 766 w 912"/>
                    <a:gd name="T75" fmla="*/ 125 h 625"/>
                    <a:gd name="T76" fmla="*/ 803 w 912"/>
                    <a:gd name="T77" fmla="*/ 133 h 625"/>
                    <a:gd name="T78" fmla="*/ 855 w 912"/>
                    <a:gd name="T79" fmla="*/ 137 h 625"/>
                    <a:gd name="T80" fmla="*/ 875 w 912"/>
                    <a:gd name="T81" fmla="*/ 169 h 625"/>
                    <a:gd name="T82" fmla="*/ 896 w 912"/>
                    <a:gd name="T83" fmla="*/ 173 h 625"/>
                    <a:gd name="T84" fmla="*/ 912 w 912"/>
                    <a:gd name="T85" fmla="*/ 210 h 625"/>
                    <a:gd name="T86" fmla="*/ 908 w 912"/>
                    <a:gd name="T87" fmla="*/ 250 h 625"/>
                    <a:gd name="T88" fmla="*/ 883 w 912"/>
                    <a:gd name="T89" fmla="*/ 254 h 625"/>
                    <a:gd name="T90" fmla="*/ 851 w 912"/>
                    <a:gd name="T91" fmla="*/ 246 h 625"/>
                    <a:gd name="T92" fmla="*/ 835 w 912"/>
                    <a:gd name="T93" fmla="*/ 295 h 625"/>
                    <a:gd name="T94" fmla="*/ 867 w 912"/>
                    <a:gd name="T95" fmla="*/ 315 h 625"/>
                    <a:gd name="T96" fmla="*/ 891 w 912"/>
                    <a:gd name="T97" fmla="*/ 331 h 625"/>
                    <a:gd name="T98" fmla="*/ 871 w 912"/>
                    <a:gd name="T99" fmla="*/ 387 h 625"/>
                    <a:gd name="T100" fmla="*/ 843 w 912"/>
                    <a:gd name="T101" fmla="*/ 420 h 625"/>
                    <a:gd name="T102" fmla="*/ 750 w 912"/>
                    <a:gd name="T103" fmla="*/ 448 h 625"/>
                    <a:gd name="T104" fmla="*/ 678 w 912"/>
                    <a:gd name="T105" fmla="*/ 476 h 625"/>
                    <a:gd name="T106" fmla="*/ 641 w 912"/>
                    <a:gd name="T107" fmla="*/ 508 h 625"/>
                    <a:gd name="T108" fmla="*/ 621 w 912"/>
                    <a:gd name="T109" fmla="*/ 537 h 625"/>
                    <a:gd name="T110" fmla="*/ 605 w 912"/>
                    <a:gd name="T111" fmla="*/ 621 h 625"/>
                    <a:gd name="T112" fmla="*/ 589 w 912"/>
                    <a:gd name="T113" fmla="*/ 625 h 625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912"/>
                    <a:gd name="T172" fmla="*/ 0 h 625"/>
                    <a:gd name="T173" fmla="*/ 912 w 912"/>
                    <a:gd name="T174" fmla="*/ 625 h 625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912" h="625">
                      <a:moveTo>
                        <a:pt x="589" y="625"/>
                      </a:moveTo>
                      <a:lnTo>
                        <a:pt x="577" y="621"/>
                      </a:lnTo>
                      <a:lnTo>
                        <a:pt x="541" y="613"/>
                      </a:lnTo>
                      <a:lnTo>
                        <a:pt x="524" y="613"/>
                      </a:lnTo>
                      <a:lnTo>
                        <a:pt x="508" y="605"/>
                      </a:lnTo>
                      <a:lnTo>
                        <a:pt x="504" y="605"/>
                      </a:lnTo>
                      <a:lnTo>
                        <a:pt x="504" y="601"/>
                      </a:lnTo>
                      <a:lnTo>
                        <a:pt x="448" y="597"/>
                      </a:lnTo>
                      <a:lnTo>
                        <a:pt x="383" y="593"/>
                      </a:lnTo>
                      <a:lnTo>
                        <a:pt x="383" y="589"/>
                      </a:lnTo>
                      <a:lnTo>
                        <a:pt x="379" y="585"/>
                      </a:lnTo>
                      <a:lnTo>
                        <a:pt x="343" y="581"/>
                      </a:lnTo>
                      <a:lnTo>
                        <a:pt x="315" y="573"/>
                      </a:lnTo>
                      <a:lnTo>
                        <a:pt x="311" y="569"/>
                      </a:lnTo>
                      <a:lnTo>
                        <a:pt x="282" y="569"/>
                      </a:lnTo>
                      <a:lnTo>
                        <a:pt x="210" y="561"/>
                      </a:lnTo>
                      <a:lnTo>
                        <a:pt x="206" y="561"/>
                      </a:lnTo>
                      <a:lnTo>
                        <a:pt x="198" y="553"/>
                      </a:lnTo>
                      <a:lnTo>
                        <a:pt x="185" y="553"/>
                      </a:lnTo>
                      <a:lnTo>
                        <a:pt x="169" y="549"/>
                      </a:lnTo>
                      <a:lnTo>
                        <a:pt x="161" y="549"/>
                      </a:lnTo>
                      <a:lnTo>
                        <a:pt x="161" y="545"/>
                      </a:lnTo>
                      <a:lnTo>
                        <a:pt x="141" y="541"/>
                      </a:lnTo>
                      <a:lnTo>
                        <a:pt x="121" y="541"/>
                      </a:lnTo>
                      <a:lnTo>
                        <a:pt x="109" y="537"/>
                      </a:lnTo>
                      <a:lnTo>
                        <a:pt x="101" y="533"/>
                      </a:lnTo>
                      <a:lnTo>
                        <a:pt x="73" y="533"/>
                      </a:lnTo>
                      <a:lnTo>
                        <a:pt x="36" y="533"/>
                      </a:lnTo>
                      <a:lnTo>
                        <a:pt x="36" y="520"/>
                      </a:lnTo>
                      <a:lnTo>
                        <a:pt x="36" y="504"/>
                      </a:lnTo>
                      <a:lnTo>
                        <a:pt x="32" y="500"/>
                      </a:lnTo>
                      <a:lnTo>
                        <a:pt x="32" y="488"/>
                      </a:lnTo>
                      <a:lnTo>
                        <a:pt x="24" y="488"/>
                      </a:lnTo>
                      <a:lnTo>
                        <a:pt x="16" y="488"/>
                      </a:lnTo>
                      <a:lnTo>
                        <a:pt x="8" y="476"/>
                      </a:lnTo>
                      <a:lnTo>
                        <a:pt x="0" y="472"/>
                      </a:lnTo>
                      <a:lnTo>
                        <a:pt x="0" y="460"/>
                      </a:lnTo>
                      <a:lnTo>
                        <a:pt x="0" y="448"/>
                      </a:lnTo>
                      <a:lnTo>
                        <a:pt x="4" y="440"/>
                      </a:lnTo>
                      <a:lnTo>
                        <a:pt x="4" y="436"/>
                      </a:lnTo>
                      <a:lnTo>
                        <a:pt x="8" y="424"/>
                      </a:lnTo>
                      <a:lnTo>
                        <a:pt x="8" y="420"/>
                      </a:lnTo>
                      <a:lnTo>
                        <a:pt x="16" y="416"/>
                      </a:lnTo>
                      <a:lnTo>
                        <a:pt x="20" y="412"/>
                      </a:lnTo>
                      <a:lnTo>
                        <a:pt x="24" y="399"/>
                      </a:lnTo>
                      <a:lnTo>
                        <a:pt x="44" y="387"/>
                      </a:lnTo>
                      <a:lnTo>
                        <a:pt x="60" y="371"/>
                      </a:lnTo>
                      <a:lnTo>
                        <a:pt x="77" y="367"/>
                      </a:lnTo>
                      <a:lnTo>
                        <a:pt x="85" y="355"/>
                      </a:lnTo>
                      <a:lnTo>
                        <a:pt x="97" y="355"/>
                      </a:lnTo>
                      <a:lnTo>
                        <a:pt x="109" y="351"/>
                      </a:lnTo>
                      <a:lnTo>
                        <a:pt x="113" y="347"/>
                      </a:lnTo>
                      <a:lnTo>
                        <a:pt x="121" y="339"/>
                      </a:lnTo>
                      <a:lnTo>
                        <a:pt x="161" y="339"/>
                      </a:lnTo>
                      <a:lnTo>
                        <a:pt x="202" y="339"/>
                      </a:lnTo>
                      <a:lnTo>
                        <a:pt x="218" y="331"/>
                      </a:lnTo>
                      <a:lnTo>
                        <a:pt x="238" y="323"/>
                      </a:lnTo>
                      <a:lnTo>
                        <a:pt x="254" y="323"/>
                      </a:lnTo>
                      <a:lnTo>
                        <a:pt x="274" y="323"/>
                      </a:lnTo>
                      <a:lnTo>
                        <a:pt x="294" y="331"/>
                      </a:lnTo>
                      <a:lnTo>
                        <a:pt x="315" y="339"/>
                      </a:lnTo>
                      <a:lnTo>
                        <a:pt x="331" y="339"/>
                      </a:lnTo>
                      <a:lnTo>
                        <a:pt x="347" y="339"/>
                      </a:lnTo>
                      <a:lnTo>
                        <a:pt x="355" y="339"/>
                      </a:lnTo>
                      <a:lnTo>
                        <a:pt x="363" y="335"/>
                      </a:lnTo>
                      <a:lnTo>
                        <a:pt x="367" y="319"/>
                      </a:lnTo>
                      <a:lnTo>
                        <a:pt x="371" y="299"/>
                      </a:lnTo>
                      <a:lnTo>
                        <a:pt x="383" y="295"/>
                      </a:lnTo>
                      <a:lnTo>
                        <a:pt x="395" y="290"/>
                      </a:lnTo>
                      <a:lnTo>
                        <a:pt x="399" y="278"/>
                      </a:lnTo>
                      <a:lnTo>
                        <a:pt x="403" y="242"/>
                      </a:lnTo>
                      <a:lnTo>
                        <a:pt x="415" y="230"/>
                      </a:lnTo>
                      <a:lnTo>
                        <a:pt x="424" y="218"/>
                      </a:lnTo>
                      <a:lnTo>
                        <a:pt x="428" y="194"/>
                      </a:lnTo>
                      <a:lnTo>
                        <a:pt x="428" y="157"/>
                      </a:lnTo>
                      <a:lnTo>
                        <a:pt x="424" y="153"/>
                      </a:lnTo>
                      <a:lnTo>
                        <a:pt x="424" y="149"/>
                      </a:lnTo>
                      <a:lnTo>
                        <a:pt x="415" y="137"/>
                      </a:lnTo>
                      <a:lnTo>
                        <a:pt x="403" y="133"/>
                      </a:lnTo>
                      <a:lnTo>
                        <a:pt x="399" y="133"/>
                      </a:lnTo>
                      <a:lnTo>
                        <a:pt x="399" y="125"/>
                      </a:lnTo>
                      <a:lnTo>
                        <a:pt x="383" y="113"/>
                      </a:lnTo>
                      <a:lnTo>
                        <a:pt x="371" y="101"/>
                      </a:lnTo>
                      <a:lnTo>
                        <a:pt x="371" y="89"/>
                      </a:lnTo>
                      <a:lnTo>
                        <a:pt x="371" y="81"/>
                      </a:lnTo>
                      <a:lnTo>
                        <a:pt x="383" y="77"/>
                      </a:lnTo>
                      <a:lnTo>
                        <a:pt x="399" y="69"/>
                      </a:lnTo>
                      <a:lnTo>
                        <a:pt x="403" y="52"/>
                      </a:lnTo>
                      <a:lnTo>
                        <a:pt x="403" y="44"/>
                      </a:lnTo>
                      <a:lnTo>
                        <a:pt x="415" y="36"/>
                      </a:lnTo>
                      <a:lnTo>
                        <a:pt x="424" y="20"/>
                      </a:lnTo>
                      <a:lnTo>
                        <a:pt x="424" y="12"/>
                      </a:lnTo>
                      <a:lnTo>
                        <a:pt x="424" y="0"/>
                      </a:lnTo>
                      <a:lnTo>
                        <a:pt x="436" y="0"/>
                      </a:lnTo>
                      <a:lnTo>
                        <a:pt x="452" y="0"/>
                      </a:lnTo>
                      <a:lnTo>
                        <a:pt x="452" y="16"/>
                      </a:lnTo>
                      <a:lnTo>
                        <a:pt x="456" y="28"/>
                      </a:lnTo>
                      <a:lnTo>
                        <a:pt x="492" y="28"/>
                      </a:lnTo>
                      <a:lnTo>
                        <a:pt x="528" y="28"/>
                      </a:lnTo>
                      <a:lnTo>
                        <a:pt x="565" y="28"/>
                      </a:lnTo>
                      <a:lnTo>
                        <a:pt x="601" y="24"/>
                      </a:lnTo>
                      <a:lnTo>
                        <a:pt x="637" y="65"/>
                      </a:lnTo>
                      <a:lnTo>
                        <a:pt x="670" y="85"/>
                      </a:lnTo>
                      <a:lnTo>
                        <a:pt x="674" y="101"/>
                      </a:lnTo>
                      <a:lnTo>
                        <a:pt x="678" y="121"/>
                      </a:lnTo>
                      <a:lnTo>
                        <a:pt x="686" y="133"/>
                      </a:lnTo>
                      <a:lnTo>
                        <a:pt x="702" y="133"/>
                      </a:lnTo>
                      <a:lnTo>
                        <a:pt x="706" y="137"/>
                      </a:lnTo>
                      <a:lnTo>
                        <a:pt x="706" y="149"/>
                      </a:lnTo>
                      <a:lnTo>
                        <a:pt x="726" y="149"/>
                      </a:lnTo>
                      <a:lnTo>
                        <a:pt x="738" y="145"/>
                      </a:lnTo>
                      <a:lnTo>
                        <a:pt x="742" y="133"/>
                      </a:lnTo>
                      <a:lnTo>
                        <a:pt x="750" y="125"/>
                      </a:lnTo>
                      <a:lnTo>
                        <a:pt x="766" y="125"/>
                      </a:lnTo>
                      <a:lnTo>
                        <a:pt x="783" y="121"/>
                      </a:lnTo>
                      <a:lnTo>
                        <a:pt x="795" y="125"/>
                      </a:lnTo>
                      <a:lnTo>
                        <a:pt x="803" y="133"/>
                      </a:lnTo>
                      <a:lnTo>
                        <a:pt x="827" y="133"/>
                      </a:lnTo>
                      <a:lnTo>
                        <a:pt x="851" y="137"/>
                      </a:lnTo>
                      <a:lnTo>
                        <a:pt x="855" y="137"/>
                      </a:lnTo>
                      <a:lnTo>
                        <a:pt x="859" y="145"/>
                      </a:lnTo>
                      <a:lnTo>
                        <a:pt x="871" y="153"/>
                      </a:lnTo>
                      <a:lnTo>
                        <a:pt x="875" y="169"/>
                      </a:lnTo>
                      <a:lnTo>
                        <a:pt x="883" y="169"/>
                      </a:lnTo>
                      <a:lnTo>
                        <a:pt x="891" y="169"/>
                      </a:lnTo>
                      <a:lnTo>
                        <a:pt x="896" y="173"/>
                      </a:lnTo>
                      <a:lnTo>
                        <a:pt x="908" y="186"/>
                      </a:lnTo>
                      <a:lnTo>
                        <a:pt x="908" y="198"/>
                      </a:lnTo>
                      <a:lnTo>
                        <a:pt x="912" y="210"/>
                      </a:lnTo>
                      <a:lnTo>
                        <a:pt x="912" y="226"/>
                      </a:lnTo>
                      <a:lnTo>
                        <a:pt x="912" y="242"/>
                      </a:lnTo>
                      <a:lnTo>
                        <a:pt x="908" y="250"/>
                      </a:lnTo>
                      <a:lnTo>
                        <a:pt x="908" y="254"/>
                      </a:lnTo>
                      <a:lnTo>
                        <a:pt x="891" y="254"/>
                      </a:lnTo>
                      <a:lnTo>
                        <a:pt x="883" y="254"/>
                      </a:lnTo>
                      <a:lnTo>
                        <a:pt x="875" y="250"/>
                      </a:lnTo>
                      <a:lnTo>
                        <a:pt x="867" y="246"/>
                      </a:lnTo>
                      <a:lnTo>
                        <a:pt x="851" y="246"/>
                      </a:lnTo>
                      <a:lnTo>
                        <a:pt x="843" y="246"/>
                      </a:lnTo>
                      <a:lnTo>
                        <a:pt x="843" y="270"/>
                      </a:lnTo>
                      <a:lnTo>
                        <a:pt x="835" y="295"/>
                      </a:lnTo>
                      <a:lnTo>
                        <a:pt x="843" y="303"/>
                      </a:lnTo>
                      <a:lnTo>
                        <a:pt x="851" y="315"/>
                      </a:lnTo>
                      <a:lnTo>
                        <a:pt x="867" y="315"/>
                      </a:lnTo>
                      <a:lnTo>
                        <a:pt x="875" y="315"/>
                      </a:lnTo>
                      <a:lnTo>
                        <a:pt x="883" y="323"/>
                      </a:lnTo>
                      <a:lnTo>
                        <a:pt x="891" y="331"/>
                      </a:lnTo>
                      <a:lnTo>
                        <a:pt x="883" y="347"/>
                      </a:lnTo>
                      <a:lnTo>
                        <a:pt x="871" y="367"/>
                      </a:lnTo>
                      <a:lnTo>
                        <a:pt x="871" y="387"/>
                      </a:lnTo>
                      <a:lnTo>
                        <a:pt x="867" y="412"/>
                      </a:lnTo>
                      <a:lnTo>
                        <a:pt x="855" y="416"/>
                      </a:lnTo>
                      <a:lnTo>
                        <a:pt x="843" y="420"/>
                      </a:lnTo>
                      <a:lnTo>
                        <a:pt x="803" y="424"/>
                      </a:lnTo>
                      <a:lnTo>
                        <a:pt x="779" y="428"/>
                      </a:lnTo>
                      <a:lnTo>
                        <a:pt x="750" y="448"/>
                      </a:lnTo>
                      <a:lnTo>
                        <a:pt x="726" y="468"/>
                      </a:lnTo>
                      <a:lnTo>
                        <a:pt x="714" y="472"/>
                      </a:lnTo>
                      <a:lnTo>
                        <a:pt x="678" y="476"/>
                      </a:lnTo>
                      <a:lnTo>
                        <a:pt x="666" y="484"/>
                      </a:lnTo>
                      <a:lnTo>
                        <a:pt x="653" y="492"/>
                      </a:lnTo>
                      <a:lnTo>
                        <a:pt x="641" y="508"/>
                      </a:lnTo>
                      <a:lnTo>
                        <a:pt x="637" y="524"/>
                      </a:lnTo>
                      <a:lnTo>
                        <a:pt x="629" y="533"/>
                      </a:lnTo>
                      <a:lnTo>
                        <a:pt x="621" y="537"/>
                      </a:lnTo>
                      <a:lnTo>
                        <a:pt x="617" y="577"/>
                      </a:lnTo>
                      <a:lnTo>
                        <a:pt x="609" y="617"/>
                      </a:lnTo>
                      <a:lnTo>
                        <a:pt x="605" y="621"/>
                      </a:lnTo>
                      <a:lnTo>
                        <a:pt x="601" y="625"/>
                      </a:lnTo>
                      <a:lnTo>
                        <a:pt x="593" y="625"/>
                      </a:lnTo>
                      <a:lnTo>
                        <a:pt x="589" y="625"/>
                      </a:ln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ru-RU" sz="800" b="1"/>
                </a:p>
              </p:txBody>
            </p:sp>
          </p:grpSp>
          <p:sp>
            <p:nvSpPr>
              <p:cNvPr id="48" name="Freeform 60"/>
              <p:cNvSpPr>
                <a:spLocks/>
              </p:cNvSpPr>
              <p:nvPr/>
            </p:nvSpPr>
            <p:spPr bwMode="auto">
              <a:xfrm>
                <a:off x="6846975" y="1300454"/>
                <a:ext cx="1217613" cy="1374940"/>
              </a:xfrm>
              <a:custGeom>
                <a:avLst/>
                <a:gdLst>
                  <a:gd name="T0" fmla="*/ 2147483647 w 1355"/>
                  <a:gd name="T1" fmla="*/ 2147483647 h 1545"/>
                  <a:gd name="T2" fmla="*/ 2147483647 w 1355"/>
                  <a:gd name="T3" fmla="*/ 2147483647 h 1545"/>
                  <a:gd name="T4" fmla="*/ 2147483647 w 1355"/>
                  <a:gd name="T5" fmla="*/ 2147483647 h 1545"/>
                  <a:gd name="T6" fmla="*/ 2147483647 w 1355"/>
                  <a:gd name="T7" fmla="*/ 2147483647 h 1545"/>
                  <a:gd name="T8" fmla="*/ 2147483647 w 1355"/>
                  <a:gd name="T9" fmla="*/ 2147483647 h 1545"/>
                  <a:gd name="T10" fmla="*/ 2147483647 w 1355"/>
                  <a:gd name="T11" fmla="*/ 2147483647 h 1545"/>
                  <a:gd name="T12" fmla="*/ 2147483647 w 1355"/>
                  <a:gd name="T13" fmla="*/ 2147483647 h 1545"/>
                  <a:gd name="T14" fmla="*/ 2147483647 w 1355"/>
                  <a:gd name="T15" fmla="*/ 2147483647 h 1545"/>
                  <a:gd name="T16" fmla="*/ 2147483647 w 1355"/>
                  <a:gd name="T17" fmla="*/ 2147483647 h 1545"/>
                  <a:gd name="T18" fmla="*/ 2147483647 w 1355"/>
                  <a:gd name="T19" fmla="*/ 2147483647 h 1545"/>
                  <a:gd name="T20" fmla="*/ 2147483647 w 1355"/>
                  <a:gd name="T21" fmla="*/ 2147483647 h 1545"/>
                  <a:gd name="T22" fmla="*/ 2147483647 w 1355"/>
                  <a:gd name="T23" fmla="*/ 2147483647 h 1545"/>
                  <a:gd name="T24" fmla="*/ 2147483647 w 1355"/>
                  <a:gd name="T25" fmla="*/ 2147483647 h 1545"/>
                  <a:gd name="T26" fmla="*/ 2147483647 w 1355"/>
                  <a:gd name="T27" fmla="*/ 2147483647 h 1545"/>
                  <a:gd name="T28" fmla="*/ 2147483647 w 1355"/>
                  <a:gd name="T29" fmla="*/ 2147483647 h 1545"/>
                  <a:gd name="T30" fmla="*/ 2147483647 w 1355"/>
                  <a:gd name="T31" fmla="*/ 2147483647 h 1545"/>
                  <a:gd name="T32" fmla="*/ 2147483647 w 1355"/>
                  <a:gd name="T33" fmla="*/ 2147483647 h 1545"/>
                  <a:gd name="T34" fmla="*/ 2147483647 w 1355"/>
                  <a:gd name="T35" fmla="*/ 2147483647 h 1545"/>
                  <a:gd name="T36" fmla="*/ 0 w 1355"/>
                  <a:gd name="T37" fmla="*/ 2147483647 h 1545"/>
                  <a:gd name="T38" fmla="*/ 2147483647 w 1355"/>
                  <a:gd name="T39" fmla="*/ 2147483647 h 1545"/>
                  <a:gd name="T40" fmla="*/ 2147483647 w 1355"/>
                  <a:gd name="T41" fmla="*/ 2147483647 h 1545"/>
                  <a:gd name="T42" fmla="*/ 2147483647 w 1355"/>
                  <a:gd name="T43" fmla="*/ 2147483647 h 1545"/>
                  <a:gd name="T44" fmla="*/ 2147483647 w 1355"/>
                  <a:gd name="T45" fmla="*/ 2147483647 h 1545"/>
                  <a:gd name="T46" fmla="*/ 2147483647 w 1355"/>
                  <a:gd name="T47" fmla="*/ 2147483647 h 1545"/>
                  <a:gd name="T48" fmla="*/ 2147483647 w 1355"/>
                  <a:gd name="T49" fmla="*/ 2147483647 h 1545"/>
                  <a:gd name="T50" fmla="*/ 2147483647 w 1355"/>
                  <a:gd name="T51" fmla="*/ 2147483647 h 1545"/>
                  <a:gd name="T52" fmla="*/ 2147483647 w 1355"/>
                  <a:gd name="T53" fmla="*/ 2147483647 h 1545"/>
                  <a:gd name="T54" fmla="*/ 2147483647 w 1355"/>
                  <a:gd name="T55" fmla="*/ 0 h 1545"/>
                  <a:gd name="T56" fmla="*/ 2147483647 w 1355"/>
                  <a:gd name="T57" fmla="*/ 2147483647 h 1545"/>
                  <a:gd name="T58" fmla="*/ 2147483647 w 1355"/>
                  <a:gd name="T59" fmla="*/ 2147483647 h 1545"/>
                  <a:gd name="T60" fmla="*/ 2147483647 w 1355"/>
                  <a:gd name="T61" fmla="*/ 2147483647 h 1545"/>
                  <a:gd name="T62" fmla="*/ 2147483647 w 1355"/>
                  <a:gd name="T63" fmla="*/ 2147483647 h 1545"/>
                  <a:gd name="T64" fmla="*/ 2147483647 w 1355"/>
                  <a:gd name="T65" fmla="*/ 2147483647 h 1545"/>
                  <a:gd name="T66" fmla="*/ 2147483647 w 1355"/>
                  <a:gd name="T67" fmla="*/ 2147483647 h 1545"/>
                  <a:gd name="T68" fmla="*/ 2147483647 w 1355"/>
                  <a:gd name="T69" fmla="*/ 2147483647 h 1545"/>
                  <a:gd name="T70" fmla="*/ 2147483647 w 1355"/>
                  <a:gd name="T71" fmla="*/ 2147483647 h 1545"/>
                  <a:gd name="T72" fmla="*/ 2147483647 w 1355"/>
                  <a:gd name="T73" fmla="*/ 2147483647 h 1545"/>
                  <a:gd name="T74" fmla="*/ 2147483647 w 1355"/>
                  <a:gd name="T75" fmla="*/ 2147483647 h 1545"/>
                  <a:gd name="T76" fmla="*/ 2147483647 w 1355"/>
                  <a:gd name="T77" fmla="*/ 2147483647 h 1545"/>
                  <a:gd name="T78" fmla="*/ 2147483647 w 1355"/>
                  <a:gd name="T79" fmla="*/ 2147483647 h 1545"/>
                  <a:gd name="T80" fmla="*/ 2147483647 w 1355"/>
                  <a:gd name="T81" fmla="*/ 2147483647 h 1545"/>
                  <a:gd name="T82" fmla="*/ 2147483647 w 1355"/>
                  <a:gd name="T83" fmla="*/ 2147483647 h 1545"/>
                  <a:gd name="T84" fmla="*/ 2147483647 w 1355"/>
                  <a:gd name="T85" fmla="*/ 2147483647 h 1545"/>
                  <a:gd name="T86" fmla="*/ 2147483647 w 1355"/>
                  <a:gd name="T87" fmla="*/ 2147483647 h 1545"/>
                  <a:gd name="T88" fmla="*/ 2147483647 w 1355"/>
                  <a:gd name="T89" fmla="*/ 2147483647 h 1545"/>
                  <a:gd name="T90" fmla="*/ 2147483647 w 1355"/>
                  <a:gd name="T91" fmla="*/ 2147483647 h 1545"/>
                  <a:gd name="T92" fmla="*/ 2147483647 w 1355"/>
                  <a:gd name="T93" fmla="*/ 2147483647 h 1545"/>
                  <a:gd name="T94" fmla="*/ 2147483647 w 1355"/>
                  <a:gd name="T95" fmla="*/ 2147483647 h 1545"/>
                  <a:gd name="T96" fmla="*/ 2147483647 w 1355"/>
                  <a:gd name="T97" fmla="*/ 2147483647 h 1545"/>
                  <a:gd name="T98" fmla="*/ 2147483647 w 1355"/>
                  <a:gd name="T99" fmla="*/ 2147483647 h 1545"/>
                  <a:gd name="T100" fmla="*/ 2147483647 w 1355"/>
                  <a:gd name="T101" fmla="*/ 2147483647 h 1545"/>
                  <a:gd name="T102" fmla="*/ 2147483647 w 1355"/>
                  <a:gd name="T103" fmla="*/ 2147483647 h 1545"/>
                  <a:gd name="T104" fmla="*/ 2147483647 w 1355"/>
                  <a:gd name="T105" fmla="*/ 2147483647 h 1545"/>
                  <a:gd name="T106" fmla="*/ 2147483647 w 1355"/>
                  <a:gd name="T107" fmla="*/ 2147483647 h 1545"/>
                  <a:gd name="T108" fmla="*/ 2147483647 w 1355"/>
                  <a:gd name="T109" fmla="*/ 2147483647 h 1545"/>
                  <a:gd name="T110" fmla="*/ 2147483647 w 1355"/>
                  <a:gd name="T111" fmla="*/ 2147483647 h 1545"/>
                  <a:gd name="T112" fmla="*/ 2147483647 w 1355"/>
                  <a:gd name="T113" fmla="*/ 2147483647 h 1545"/>
                  <a:gd name="T114" fmla="*/ 2147483647 w 1355"/>
                  <a:gd name="T115" fmla="*/ 2147483647 h 1545"/>
                  <a:gd name="T116" fmla="*/ 2147483647 w 1355"/>
                  <a:gd name="T117" fmla="*/ 2147483647 h 1545"/>
                  <a:gd name="T118" fmla="*/ 2147483647 w 1355"/>
                  <a:gd name="T119" fmla="*/ 2147483647 h 1545"/>
                  <a:gd name="T120" fmla="*/ 2147483647 w 1355"/>
                  <a:gd name="T121" fmla="*/ 2147483647 h 154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355"/>
                  <a:gd name="T184" fmla="*/ 0 h 1545"/>
                  <a:gd name="T185" fmla="*/ 1355 w 1355"/>
                  <a:gd name="T186" fmla="*/ 1545 h 154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355" h="1545">
                    <a:moveTo>
                      <a:pt x="888" y="1545"/>
                    </a:moveTo>
                    <a:lnTo>
                      <a:pt x="871" y="1541"/>
                    </a:lnTo>
                    <a:lnTo>
                      <a:pt x="819" y="1533"/>
                    </a:lnTo>
                    <a:lnTo>
                      <a:pt x="815" y="1529"/>
                    </a:lnTo>
                    <a:lnTo>
                      <a:pt x="799" y="1525"/>
                    </a:lnTo>
                    <a:lnTo>
                      <a:pt x="779" y="1525"/>
                    </a:lnTo>
                    <a:lnTo>
                      <a:pt x="775" y="1521"/>
                    </a:lnTo>
                    <a:lnTo>
                      <a:pt x="767" y="1517"/>
                    </a:lnTo>
                    <a:lnTo>
                      <a:pt x="762" y="1513"/>
                    </a:lnTo>
                    <a:lnTo>
                      <a:pt x="758" y="1509"/>
                    </a:lnTo>
                    <a:lnTo>
                      <a:pt x="734" y="1492"/>
                    </a:lnTo>
                    <a:lnTo>
                      <a:pt x="690" y="1464"/>
                    </a:lnTo>
                    <a:lnTo>
                      <a:pt x="666" y="1464"/>
                    </a:lnTo>
                    <a:lnTo>
                      <a:pt x="637" y="1464"/>
                    </a:lnTo>
                    <a:lnTo>
                      <a:pt x="629" y="1448"/>
                    </a:lnTo>
                    <a:lnTo>
                      <a:pt x="613" y="1436"/>
                    </a:lnTo>
                    <a:lnTo>
                      <a:pt x="609" y="1436"/>
                    </a:lnTo>
                    <a:lnTo>
                      <a:pt x="601" y="1436"/>
                    </a:lnTo>
                    <a:lnTo>
                      <a:pt x="601" y="1428"/>
                    </a:lnTo>
                    <a:lnTo>
                      <a:pt x="593" y="1428"/>
                    </a:lnTo>
                    <a:lnTo>
                      <a:pt x="585" y="1424"/>
                    </a:lnTo>
                    <a:lnTo>
                      <a:pt x="577" y="1424"/>
                    </a:lnTo>
                    <a:lnTo>
                      <a:pt x="577" y="1412"/>
                    </a:lnTo>
                    <a:lnTo>
                      <a:pt x="577" y="1400"/>
                    </a:lnTo>
                    <a:lnTo>
                      <a:pt x="569" y="1392"/>
                    </a:lnTo>
                    <a:lnTo>
                      <a:pt x="561" y="1375"/>
                    </a:lnTo>
                    <a:lnTo>
                      <a:pt x="520" y="1375"/>
                    </a:lnTo>
                    <a:lnTo>
                      <a:pt x="488" y="1375"/>
                    </a:lnTo>
                    <a:lnTo>
                      <a:pt x="448" y="1375"/>
                    </a:lnTo>
                    <a:lnTo>
                      <a:pt x="412" y="1375"/>
                    </a:lnTo>
                    <a:lnTo>
                      <a:pt x="403" y="1375"/>
                    </a:lnTo>
                    <a:lnTo>
                      <a:pt x="391" y="1367"/>
                    </a:lnTo>
                    <a:lnTo>
                      <a:pt x="383" y="1355"/>
                    </a:lnTo>
                    <a:lnTo>
                      <a:pt x="371" y="1343"/>
                    </a:lnTo>
                    <a:lnTo>
                      <a:pt x="347" y="1335"/>
                    </a:lnTo>
                    <a:lnTo>
                      <a:pt x="323" y="1331"/>
                    </a:lnTo>
                    <a:lnTo>
                      <a:pt x="323" y="1315"/>
                    </a:lnTo>
                    <a:lnTo>
                      <a:pt x="323" y="1295"/>
                    </a:lnTo>
                    <a:lnTo>
                      <a:pt x="327" y="1291"/>
                    </a:lnTo>
                    <a:lnTo>
                      <a:pt x="327" y="1287"/>
                    </a:lnTo>
                    <a:lnTo>
                      <a:pt x="335" y="1287"/>
                    </a:lnTo>
                    <a:lnTo>
                      <a:pt x="351" y="1283"/>
                    </a:lnTo>
                    <a:lnTo>
                      <a:pt x="355" y="1275"/>
                    </a:lnTo>
                    <a:lnTo>
                      <a:pt x="367" y="1266"/>
                    </a:lnTo>
                    <a:lnTo>
                      <a:pt x="391" y="1250"/>
                    </a:lnTo>
                    <a:lnTo>
                      <a:pt x="403" y="1242"/>
                    </a:lnTo>
                    <a:lnTo>
                      <a:pt x="412" y="1238"/>
                    </a:lnTo>
                    <a:lnTo>
                      <a:pt x="420" y="1238"/>
                    </a:lnTo>
                    <a:lnTo>
                      <a:pt x="432" y="1230"/>
                    </a:lnTo>
                    <a:lnTo>
                      <a:pt x="440" y="1222"/>
                    </a:lnTo>
                    <a:lnTo>
                      <a:pt x="480" y="1198"/>
                    </a:lnTo>
                    <a:lnTo>
                      <a:pt x="516" y="1178"/>
                    </a:lnTo>
                    <a:lnTo>
                      <a:pt x="524" y="1158"/>
                    </a:lnTo>
                    <a:lnTo>
                      <a:pt x="541" y="1141"/>
                    </a:lnTo>
                    <a:lnTo>
                      <a:pt x="541" y="1125"/>
                    </a:lnTo>
                    <a:lnTo>
                      <a:pt x="541" y="1113"/>
                    </a:lnTo>
                    <a:lnTo>
                      <a:pt x="533" y="1109"/>
                    </a:lnTo>
                    <a:lnTo>
                      <a:pt x="529" y="1105"/>
                    </a:lnTo>
                    <a:lnTo>
                      <a:pt x="512" y="1105"/>
                    </a:lnTo>
                    <a:lnTo>
                      <a:pt x="496" y="1105"/>
                    </a:lnTo>
                    <a:lnTo>
                      <a:pt x="472" y="1121"/>
                    </a:lnTo>
                    <a:lnTo>
                      <a:pt x="444" y="1133"/>
                    </a:lnTo>
                    <a:lnTo>
                      <a:pt x="440" y="1141"/>
                    </a:lnTo>
                    <a:lnTo>
                      <a:pt x="432" y="1149"/>
                    </a:lnTo>
                    <a:lnTo>
                      <a:pt x="407" y="1162"/>
                    </a:lnTo>
                    <a:lnTo>
                      <a:pt x="383" y="1178"/>
                    </a:lnTo>
                    <a:lnTo>
                      <a:pt x="379" y="1182"/>
                    </a:lnTo>
                    <a:lnTo>
                      <a:pt x="351" y="1190"/>
                    </a:lnTo>
                    <a:lnTo>
                      <a:pt x="331" y="1194"/>
                    </a:lnTo>
                    <a:lnTo>
                      <a:pt x="315" y="1198"/>
                    </a:lnTo>
                    <a:lnTo>
                      <a:pt x="295" y="1210"/>
                    </a:lnTo>
                    <a:lnTo>
                      <a:pt x="274" y="1222"/>
                    </a:lnTo>
                    <a:lnTo>
                      <a:pt x="266" y="1222"/>
                    </a:lnTo>
                    <a:lnTo>
                      <a:pt x="262" y="1222"/>
                    </a:lnTo>
                    <a:lnTo>
                      <a:pt x="258" y="1186"/>
                    </a:lnTo>
                    <a:lnTo>
                      <a:pt x="246" y="1145"/>
                    </a:lnTo>
                    <a:lnTo>
                      <a:pt x="246" y="1121"/>
                    </a:lnTo>
                    <a:lnTo>
                      <a:pt x="246" y="1105"/>
                    </a:lnTo>
                    <a:lnTo>
                      <a:pt x="258" y="1093"/>
                    </a:lnTo>
                    <a:lnTo>
                      <a:pt x="262" y="1077"/>
                    </a:lnTo>
                    <a:lnTo>
                      <a:pt x="262" y="1069"/>
                    </a:lnTo>
                    <a:lnTo>
                      <a:pt x="262" y="1061"/>
                    </a:lnTo>
                    <a:lnTo>
                      <a:pt x="258" y="1057"/>
                    </a:lnTo>
                    <a:lnTo>
                      <a:pt x="254" y="1049"/>
                    </a:lnTo>
                    <a:lnTo>
                      <a:pt x="238" y="1045"/>
                    </a:lnTo>
                    <a:lnTo>
                      <a:pt x="222" y="1045"/>
                    </a:lnTo>
                    <a:lnTo>
                      <a:pt x="214" y="1036"/>
                    </a:lnTo>
                    <a:lnTo>
                      <a:pt x="210" y="1028"/>
                    </a:lnTo>
                    <a:lnTo>
                      <a:pt x="206" y="1012"/>
                    </a:lnTo>
                    <a:lnTo>
                      <a:pt x="198" y="992"/>
                    </a:lnTo>
                    <a:lnTo>
                      <a:pt x="182" y="968"/>
                    </a:lnTo>
                    <a:lnTo>
                      <a:pt x="173" y="960"/>
                    </a:lnTo>
                    <a:lnTo>
                      <a:pt x="173" y="944"/>
                    </a:lnTo>
                    <a:lnTo>
                      <a:pt x="173" y="940"/>
                    </a:lnTo>
                    <a:lnTo>
                      <a:pt x="190" y="940"/>
                    </a:lnTo>
                    <a:lnTo>
                      <a:pt x="206" y="944"/>
                    </a:lnTo>
                    <a:lnTo>
                      <a:pt x="214" y="952"/>
                    </a:lnTo>
                    <a:lnTo>
                      <a:pt x="234" y="968"/>
                    </a:lnTo>
                    <a:lnTo>
                      <a:pt x="238" y="980"/>
                    </a:lnTo>
                    <a:lnTo>
                      <a:pt x="242" y="992"/>
                    </a:lnTo>
                    <a:lnTo>
                      <a:pt x="266" y="1016"/>
                    </a:lnTo>
                    <a:lnTo>
                      <a:pt x="290" y="1032"/>
                    </a:lnTo>
                    <a:lnTo>
                      <a:pt x="295" y="1032"/>
                    </a:lnTo>
                    <a:lnTo>
                      <a:pt x="299" y="1036"/>
                    </a:lnTo>
                    <a:lnTo>
                      <a:pt x="311" y="1045"/>
                    </a:lnTo>
                    <a:lnTo>
                      <a:pt x="323" y="1061"/>
                    </a:lnTo>
                    <a:lnTo>
                      <a:pt x="347" y="1069"/>
                    </a:lnTo>
                    <a:lnTo>
                      <a:pt x="363" y="1077"/>
                    </a:lnTo>
                    <a:lnTo>
                      <a:pt x="375" y="1077"/>
                    </a:lnTo>
                    <a:lnTo>
                      <a:pt x="383" y="1077"/>
                    </a:lnTo>
                    <a:lnTo>
                      <a:pt x="391" y="1073"/>
                    </a:lnTo>
                    <a:lnTo>
                      <a:pt x="399" y="1069"/>
                    </a:lnTo>
                    <a:lnTo>
                      <a:pt x="403" y="1061"/>
                    </a:lnTo>
                    <a:lnTo>
                      <a:pt x="412" y="1049"/>
                    </a:lnTo>
                    <a:lnTo>
                      <a:pt x="420" y="1045"/>
                    </a:lnTo>
                    <a:lnTo>
                      <a:pt x="432" y="1036"/>
                    </a:lnTo>
                    <a:lnTo>
                      <a:pt x="440" y="1028"/>
                    </a:lnTo>
                    <a:lnTo>
                      <a:pt x="444" y="1020"/>
                    </a:lnTo>
                    <a:lnTo>
                      <a:pt x="444" y="1016"/>
                    </a:lnTo>
                    <a:lnTo>
                      <a:pt x="440" y="992"/>
                    </a:lnTo>
                    <a:lnTo>
                      <a:pt x="428" y="984"/>
                    </a:lnTo>
                    <a:lnTo>
                      <a:pt x="412" y="972"/>
                    </a:lnTo>
                    <a:lnTo>
                      <a:pt x="412" y="968"/>
                    </a:lnTo>
                    <a:lnTo>
                      <a:pt x="412" y="960"/>
                    </a:lnTo>
                    <a:lnTo>
                      <a:pt x="416" y="952"/>
                    </a:lnTo>
                    <a:lnTo>
                      <a:pt x="420" y="948"/>
                    </a:lnTo>
                    <a:lnTo>
                      <a:pt x="432" y="940"/>
                    </a:lnTo>
                    <a:lnTo>
                      <a:pt x="440" y="928"/>
                    </a:lnTo>
                    <a:lnTo>
                      <a:pt x="444" y="903"/>
                    </a:lnTo>
                    <a:lnTo>
                      <a:pt x="448" y="891"/>
                    </a:lnTo>
                    <a:lnTo>
                      <a:pt x="444" y="887"/>
                    </a:lnTo>
                    <a:lnTo>
                      <a:pt x="440" y="879"/>
                    </a:lnTo>
                    <a:lnTo>
                      <a:pt x="436" y="875"/>
                    </a:lnTo>
                    <a:lnTo>
                      <a:pt x="432" y="867"/>
                    </a:lnTo>
                    <a:lnTo>
                      <a:pt x="399" y="867"/>
                    </a:lnTo>
                    <a:lnTo>
                      <a:pt x="367" y="863"/>
                    </a:lnTo>
                    <a:lnTo>
                      <a:pt x="367" y="851"/>
                    </a:lnTo>
                    <a:lnTo>
                      <a:pt x="371" y="831"/>
                    </a:lnTo>
                    <a:lnTo>
                      <a:pt x="367" y="827"/>
                    </a:lnTo>
                    <a:lnTo>
                      <a:pt x="363" y="819"/>
                    </a:lnTo>
                    <a:lnTo>
                      <a:pt x="347" y="811"/>
                    </a:lnTo>
                    <a:lnTo>
                      <a:pt x="335" y="802"/>
                    </a:lnTo>
                    <a:lnTo>
                      <a:pt x="323" y="794"/>
                    </a:lnTo>
                    <a:lnTo>
                      <a:pt x="311" y="790"/>
                    </a:lnTo>
                    <a:lnTo>
                      <a:pt x="295" y="774"/>
                    </a:lnTo>
                    <a:lnTo>
                      <a:pt x="286" y="762"/>
                    </a:lnTo>
                    <a:lnTo>
                      <a:pt x="266" y="746"/>
                    </a:lnTo>
                    <a:lnTo>
                      <a:pt x="254" y="734"/>
                    </a:lnTo>
                    <a:lnTo>
                      <a:pt x="234" y="730"/>
                    </a:lnTo>
                    <a:lnTo>
                      <a:pt x="218" y="730"/>
                    </a:lnTo>
                    <a:lnTo>
                      <a:pt x="214" y="734"/>
                    </a:lnTo>
                    <a:lnTo>
                      <a:pt x="210" y="738"/>
                    </a:lnTo>
                    <a:lnTo>
                      <a:pt x="186" y="738"/>
                    </a:lnTo>
                    <a:lnTo>
                      <a:pt x="173" y="742"/>
                    </a:lnTo>
                    <a:lnTo>
                      <a:pt x="161" y="734"/>
                    </a:lnTo>
                    <a:lnTo>
                      <a:pt x="145" y="726"/>
                    </a:lnTo>
                    <a:lnTo>
                      <a:pt x="121" y="726"/>
                    </a:lnTo>
                    <a:lnTo>
                      <a:pt x="93" y="726"/>
                    </a:lnTo>
                    <a:lnTo>
                      <a:pt x="81" y="734"/>
                    </a:lnTo>
                    <a:lnTo>
                      <a:pt x="73" y="738"/>
                    </a:lnTo>
                    <a:lnTo>
                      <a:pt x="65" y="746"/>
                    </a:lnTo>
                    <a:lnTo>
                      <a:pt x="57" y="762"/>
                    </a:lnTo>
                    <a:lnTo>
                      <a:pt x="44" y="770"/>
                    </a:lnTo>
                    <a:lnTo>
                      <a:pt x="36" y="778"/>
                    </a:lnTo>
                    <a:lnTo>
                      <a:pt x="24" y="778"/>
                    </a:lnTo>
                    <a:lnTo>
                      <a:pt x="16" y="778"/>
                    </a:lnTo>
                    <a:lnTo>
                      <a:pt x="16" y="774"/>
                    </a:lnTo>
                    <a:lnTo>
                      <a:pt x="12" y="770"/>
                    </a:lnTo>
                    <a:lnTo>
                      <a:pt x="8" y="762"/>
                    </a:lnTo>
                    <a:lnTo>
                      <a:pt x="0" y="754"/>
                    </a:lnTo>
                    <a:lnTo>
                      <a:pt x="0" y="742"/>
                    </a:lnTo>
                    <a:lnTo>
                      <a:pt x="0" y="730"/>
                    </a:lnTo>
                    <a:lnTo>
                      <a:pt x="8" y="726"/>
                    </a:lnTo>
                    <a:lnTo>
                      <a:pt x="12" y="714"/>
                    </a:lnTo>
                    <a:lnTo>
                      <a:pt x="16" y="694"/>
                    </a:lnTo>
                    <a:lnTo>
                      <a:pt x="24" y="694"/>
                    </a:lnTo>
                    <a:lnTo>
                      <a:pt x="36" y="690"/>
                    </a:lnTo>
                    <a:lnTo>
                      <a:pt x="36" y="681"/>
                    </a:lnTo>
                    <a:lnTo>
                      <a:pt x="40" y="669"/>
                    </a:lnTo>
                    <a:lnTo>
                      <a:pt x="40" y="649"/>
                    </a:lnTo>
                    <a:lnTo>
                      <a:pt x="44" y="629"/>
                    </a:lnTo>
                    <a:lnTo>
                      <a:pt x="48" y="629"/>
                    </a:lnTo>
                    <a:lnTo>
                      <a:pt x="57" y="633"/>
                    </a:lnTo>
                    <a:lnTo>
                      <a:pt x="65" y="637"/>
                    </a:lnTo>
                    <a:lnTo>
                      <a:pt x="77" y="645"/>
                    </a:lnTo>
                    <a:lnTo>
                      <a:pt x="89" y="645"/>
                    </a:lnTo>
                    <a:lnTo>
                      <a:pt x="101" y="645"/>
                    </a:lnTo>
                    <a:lnTo>
                      <a:pt x="117" y="637"/>
                    </a:lnTo>
                    <a:lnTo>
                      <a:pt x="129" y="629"/>
                    </a:lnTo>
                    <a:lnTo>
                      <a:pt x="129" y="609"/>
                    </a:lnTo>
                    <a:lnTo>
                      <a:pt x="129" y="597"/>
                    </a:lnTo>
                    <a:lnTo>
                      <a:pt x="141" y="573"/>
                    </a:lnTo>
                    <a:lnTo>
                      <a:pt x="153" y="548"/>
                    </a:lnTo>
                    <a:lnTo>
                      <a:pt x="161" y="536"/>
                    </a:lnTo>
                    <a:lnTo>
                      <a:pt x="173" y="524"/>
                    </a:lnTo>
                    <a:lnTo>
                      <a:pt x="206" y="488"/>
                    </a:lnTo>
                    <a:lnTo>
                      <a:pt x="218" y="472"/>
                    </a:lnTo>
                    <a:lnTo>
                      <a:pt x="234" y="468"/>
                    </a:lnTo>
                    <a:lnTo>
                      <a:pt x="254" y="464"/>
                    </a:lnTo>
                    <a:lnTo>
                      <a:pt x="258" y="451"/>
                    </a:lnTo>
                    <a:lnTo>
                      <a:pt x="266" y="443"/>
                    </a:lnTo>
                    <a:lnTo>
                      <a:pt x="266" y="431"/>
                    </a:lnTo>
                    <a:lnTo>
                      <a:pt x="270" y="419"/>
                    </a:lnTo>
                    <a:lnTo>
                      <a:pt x="266" y="415"/>
                    </a:lnTo>
                    <a:lnTo>
                      <a:pt x="266" y="411"/>
                    </a:lnTo>
                    <a:lnTo>
                      <a:pt x="266" y="399"/>
                    </a:lnTo>
                    <a:lnTo>
                      <a:pt x="270" y="399"/>
                    </a:lnTo>
                    <a:lnTo>
                      <a:pt x="274" y="395"/>
                    </a:lnTo>
                    <a:lnTo>
                      <a:pt x="274" y="383"/>
                    </a:lnTo>
                    <a:lnTo>
                      <a:pt x="286" y="379"/>
                    </a:lnTo>
                    <a:lnTo>
                      <a:pt x="303" y="375"/>
                    </a:lnTo>
                    <a:lnTo>
                      <a:pt x="323" y="375"/>
                    </a:lnTo>
                    <a:lnTo>
                      <a:pt x="331" y="379"/>
                    </a:lnTo>
                    <a:lnTo>
                      <a:pt x="347" y="387"/>
                    </a:lnTo>
                    <a:lnTo>
                      <a:pt x="351" y="387"/>
                    </a:lnTo>
                    <a:lnTo>
                      <a:pt x="363" y="387"/>
                    </a:lnTo>
                    <a:lnTo>
                      <a:pt x="367" y="383"/>
                    </a:lnTo>
                    <a:lnTo>
                      <a:pt x="371" y="379"/>
                    </a:lnTo>
                    <a:lnTo>
                      <a:pt x="387" y="371"/>
                    </a:lnTo>
                    <a:lnTo>
                      <a:pt x="412" y="359"/>
                    </a:lnTo>
                    <a:lnTo>
                      <a:pt x="416" y="355"/>
                    </a:lnTo>
                    <a:lnTo>
                      <a:pt x="428" y="347"/>
                    </a:lnTo>
                    <a:lnTo>
                      <a:pt x="456" y="343"/>
                    </a:lnTo>
                    <a:lnTo>
                      <a:pt x="468" y="334"/>
                    </a:lnTo>
                    <a:lnTo>
                      <a:pt x="472" y="330"/>
                    </a:lnTo>
                    <a:lnTo>
                      <a:pt x="484" y="318"/>
                    </a:lnTo>
                    <a:lnTo>
                      <a:pt x="488" y="298"/>
                    </a:lnTo>
                    <a:lnTo>
                      <a:pt x="492" y="294"/>
                    </a:lnTo>
                    <a:lnTo>
                      <a:pt x="504" y="258"/>
                    </a:lnTo>
                    <a:lnTo>
                      <a:pt x="512" y="222"/>
                    </a:lnTo>
                    <a:lnTo>
                      <a:pt x="516" y="217"/>
                    </a:lnTo>
                    <a:lnTo>
                      <a:pt x="516" y="197"/>
                    </a:lnTo>
                    <a:lnTo>
                      <a:pt x="516" y="177"/>
                    </a:lnTo>
                    <a:lnTo>
                      <a:pt x="508" y="169"/>
                    </a:lnTo>
                    <a:lnTo>
                      <a:pt x="492" y="153"/>
                    </a:lnTo>
                    <a:lnTo>
                      <a:pt x="484" y="145"/>
                    </a:lnTo>
                    <a:lnTo>
                      <a:pt x="468" y="141"/>
                    </a:lnTo>
                    <a:lnTo>
                      <a:pt x="456" y="137"/>
                    </a:lnTo>
                    <a:lnTo>
                      <a:pt x="440" y="133"/>
                    </a:lnTo>
                    <a:lnTo>
                      <a:pt x="440" y="129"/>
                    </a:lnTo>
                    <a:lnTo>
                      <a:pt x="440" y="117"/>
                    </a:lnTo>
                    <a:lnTo>
                      <a:pt x="464" y="105"/>
                    </a:lnTo>
                    <a:lnTo>
                      <a:pt x="472" y="100"/>
                    </a:lnTo>
                    <a:lnTo>
                      <a:pt x="480" y="88"/>
                    </a:lnTo>
                    <a:lnTo>
                      <a:pt x="484" y="76"/>
                    </a:lnTo>
                    <a:lnTo>
                      <a:pt x="484" y="44"/>
                    </a:lnTo>
                    <a:lnTo>
                      <a:pt x="484" y="8"/>
                    </a:lnTo>
                    <a:lnTo>
                      <a:pt x="488" y="4"/>
                    </a:lnTo>
                    <a:lnTo>
                      <a:pt x="492" y="0"/>
                    </a:lnTo>
                    <a:lnTo>
                      <a:pt x="561" y="0"/>
                    </a:lnTo>
                    <a:lnTo>
                      <a:pt x="625" y="0"/>
                    </a:lnTo>
                    <a:lnTo>
                      <a:pt x="641" y="0"/>
                    </a:lnTo>
                    <a:lnTo>
                      <a:pt x="658" y="4"/>
                    </a:lnTo>
                    <a:lnTo>
                      <a:pt x="666" y="8"/>
                    </a:lnTo>
                    <a:lnTo>
                      <a:pt x="674" y="12"/>
                    </a:lnTo>
                    <a:lnTo>
                      <a:pt x="682" y="28"/>
                    </a:lnTo>
                    <a:lnTo>
                      <a:pt x="686" y="32"/>
                    </a:lnTo>
                    <a:lnTo>
                      <a:pt x="690" y="40"/>
                    </a:lnTo>
                    <a:lnTo>
                      <a:pt x="694" y="44"/>
                    </a:lnTo>
                    <a:lnTo>
                      <a:pt x="718" y="44"/>
                    </a:lnTo>
                    <a:lnTo>
                      <a:pt x="742" y="44"/>
                    </a:lnTo>
                    <a:lnTo>
                      <a:pt x="742" y="32"/>
                    </a:lnTo>
                    <a:lnTo>
                      <a:pt x="746" y="28"/>
                    </a:lnTo>
                    <a:lnTo>
                      <a:pt x="758" y="16"/>
                    </a:lnTo>
                    <a:lnTo>
                      <a:pt x="762" y="4"/>
                    </a:lnTo>
                    <a:lnTo>
                      <a:pt x="775" y="4"/>
                    </a:lnTo>
                    <a:lnTo>
                      <a:pt x="791" y="4"/>
                    </a:lnTo>
                    <a:lnTo>
                      <a:pt x="795" y="8"/>
                    </a:lnTo>
                    <a:lnTo>
                      <a:pt x="799" y="8"/>
                    </a:lnTo>
                    <a:lnTo>
                      <a:pt x="799" y="28"/>
                    </a:lnTo>
                    <a:lnTo>
                      <a:pt x="799" y="56"/>
                    </a:lnTo>
                    <a:lnTo>
                      <a:pt x="787" y="64"/>
                    </a:lnTo>
                    <a:lnTo>
                      <a:pt x="742" y="84"/>
                    </a:lnTo>
                    <a:lnTo>
                      <a:pt x="738" y="88"/>
                    </a:lnTo>
                    <a:lnTo>
                      <a:pt x="734" y="96"/>
                    </a:lnTo>
                    <a:lnTo>
                      <a:pt x="726" y="165"/>
                    </a:lnTo>
                    <a:lnTo>
                      <a:pt x="722" y="181"/>
                    </a:lnTo>
                    <a:lnTo>
                      <a:pt x="714" y="193"/>
                    </a:lnTo>
                    <a:lnTo>
                      <a:pt x="694" y="209"/>
                    </a:lnTo>
                    <a:lnTo>
                      <a:pt x="686" y="213"/>
                    </a:lnTo>
                    <a:lnTo>
                      <a:pt x="682" y="213"/>
                    </a:lnTo>
                    <a:lnTo>
                      <a:pt x="674" y="222"/>
                    </a:lnTo>
                    <a:lnTo>
                      <a:pt x="666" y="226"/>
                    </a:lnTo>
                    <a:lnTo>
                      <a:pt x="654" y="234"/>
                    </a:lnTo>
                    <a:lnTo>
                      <a:pt x="633" y="238"/>
                    </a:lnTo>
                    <a:lnTo>
                      <a:pt x="629" y="238"/>
                    </a:lnTo>
                    <a:lnTo>
                      <a:pt x="621" y="238"/>
                    </a:lnTo>
                    <a:lnTo>
                      <a:pt x="605" y="250"/>
                    </a:lnTo>
                    <a:lnTo>
                      <a:pt x="593" y="262"/>
                    </a:lnTo>
                    <a:lnTo>
                      <a:pt x="593" y="282"/>
                    </a:lnTo>
                    <a:lnTo>
                      <a:pt x="593" y="310"/>
                    </a:lnTo>
                    <a:lnTo>
                      <a:pt x="597" y="318"/>
                    </a:lnTo>
                    <a:lnTo>
                      <a:pt x="601" y="318"/>
                    </a:lnTo>
                    <a:lnTo>
                      <a:pt x="601" y="334"/>
                    </a:lnTo>
                    <a:lnTo>
                      <a:pt x="601" y="343"/>
                    </a:lnTo>
                    <a:lnTo>
                      <a:pt x="593" y="351"/>
                    </a:lnTo>
                    <a:lnTo>
                      <a:pt x="581" y="367"/>
                    </a:lnTo>
                    <a:lnTo>
                      <a:pt x="573" y="367"/>
                    </a:lnTo>
                    <a:lnTo>
                      <a:pt x="569" y="371"/>
                    </a:lnTo>
                    <a:lnTo>
                      <a:pt x="561" y="375"/>
                    </a:lnTo>
                    <a:lnTo>
                      <a:pt x="557" y="379"/>
                    </a:lnTo>
                    <a:lnTo>
                      <a:pt x="557" y="387"/>
                    </a:lnTo>
                    <a:lnTo>
                      <a:pt x="557" y="399"/>
                    </a:lnTo>
                    <a:lnTo>
                      <a:pt x="561" y="399"/>
                    </a:lnTo>
                    <a:lnTo>
                      <a:pt x="561" y="419"/>
                    </a:lnTo>
                    <a:lnTo>
                      <a:pt x="565" y="435"/>
                    </a:lnTo>
                    <a:lnTo>
                      <a:pt x="569" y="439"/>
                    </a:lnTo>
                    <a:lnTo>
                      <a:pt x="573" y="443"/>
                    </a:lnTo>
                    <a:lnTo>
                      <a:pt x="577" y="456"/>
                    </a:lnTo>
                    <a:lnTo>
                      <a:pt x="585" y="480"/>
                    </a:lnTo>
                    <a:lnTo>
                      <a:pt x="585" y="516"/>
                    </a:lnTo>
                    <a:lnTo>
                      <a:pt x="585" y="552"/>
                    </a:lnTo>
                    <a:lnTo>
                      <a:pt x="581" y="552"/>
                    </a:lnTo>
                    <a:lnTo>
                      <a:pt x="577" y="560"/>
                    </a:lnTo>
                    <a:lnTo>
                      <a:pt x="577" y="564"/>
                    </a:lnTo>
                    <a:lnTo>
                      <a:pt x="577" y="573"/>
                    </a:lnTo>
                    <a:lnTo>
                      <a:pt x="577" y="585"/>
                    </a:lnTo>
                    <a:lnTo>
                      <a:pt x="577" y="597"/>
                    </a:lnTo>
                    <a:lnTo>
                      <a:pt x="581" y="597"/>
                    </a:lnTo>
                    <a:lnTo>
                      <a:pt x="601" y="597"/>
                    </a:lnTo>
                    <a:lnTo>
                      <a:pt x="605" y="597"/>
                    </a:lnTo>
                    <a:lnTo>
                      <a:pt x="609" y="601"/>
                    </a:lnTo>
                    <a:lnTo>
                      <a:pt x="609" y="613"/>
                    </a:lnTo>
                    <a:lnTo>
                      <a:pt x="609" y="629"/>
                    </a:lnTo>
                    <a:lnTo>
                      <a:pt x="609" y="637"/>
                    </a:lnTo>
                    <a:lnTo>
                      <a:pt x="605" y="645"/>
                    </a:lnTo>
                    <a:lnTo>
                      <a:pt x="593" y="653"/>
                    </a:lnTo>
                    <a:lnTo>
                      <a:pt x="577" y="665"/>
                    </a:lnTo>
                    <a:lnTo>
                      <a:pt x="569" y="681"/>
                    </a:lnTo>
                    <a:lnTo>
                      <a:pt x="549" y="698"/>
                    </a:lnTo>
                    <a:lnTo>
                      <a:pt x="549" y="706"/>
                    </a:lnTo>
                    <a:lnTo>
                      <a:pt x="549" y="722"/>
                    </a:lnTo>
                    <a:lnTo>
                      <a:pt x="557" y="726"/>
                    </a:lnTo>
                    <a:lnTo>
                      <a:pt x="561" y="726"/>
                    </a:lnTo>
                    <a:lnTo>
                      <a:pt x="573" y="730"/>
                    </a:lnTo>
                    <a:lnTo>
                      <a:pt x="593" y="734"/>
                    </a:lnTo>
                    <a:lnTo>
                      <a:pt x="593" y="738"/>
                    </a:lnTo>
                    <a:lnTo>
                      <a:pt x="593" y="742"/>
                    </a:lnTo>
                    <a:lnTo>
                      <a:pt x="601" y="746"/>
                    </a:lnTo>
                    <a:lnTo>
                      <a:pt x="609" y="754"/>
                    </a:lnTo>
                    <a:lnTo>
                      <a:pt x="621" y="762"/>
                    </a:lnTo>
                    <a:lnTo>
                      <a:pt x="629" y="782"/>
                    </a:lnTo>
                    <a:lnTo>
                      <a:pt x="629" y="807"/>
                    </a:lnTo>
                    <a:lnTo>
                      <a:pt x="629" y="827"/>
                    </a:lnTo>
                    <a:lnTo>
                      <a:pt x="625" y="827"/>
                    </a:lnTo>
                    <a:lnTo>
                      <a:pt x="629" y="839"/>
                    </a:lnTo>
                    <a:lnTo>
                      <a:pt x="629" y="851"/>
                    </a:lnTo>
                    <a:lnTo>
                      <a:pt x="641" y="851"/>
                    </a:lnTo>
                    <a:lnTo>
                      <a:pt x="658" y="851"/>
                    </a:lnTo>
                    <a:lnTo>
                      <a:pt x="666" y="839"/>
                    </a:lnTo>
                    <a:lnTo>
                      <a:pt x="674" y="827"/>
                    </a:lnTo>
                    <a:lnTo>
                      <a:pt x="682" y="819"/>
                    </a:lnTo>
                    <a:lnTo>
                      <a:pt x="686" y="811"/>
                    </a:lnTo>
                    <a:lnTo>
                      <a:pt x="694" y="827"/>
                    </a:lnTo>
                    <a:lnTo>
                      <a:pt x="702" y="847"/>
                    </a:lnTo>
                    <a:lnTo>
                      <a:pt x="706" y="851"/>
                    </a:lnTo>
                    <a:lnTo>
                      <a:pt x="710" y="855"/>
                    </a:lnTo>
                    <a:lnTo>
                      <a:pt x="722" y="855"/>
                    </a:lnTo>
                    <a:lnTo>
                      <a:pt x="742" y="855"/>
                    </a:lnTo>
                    <a:lnTo>
                      <a:pt x="746" y="851"/>
                    </a:lnTo>
                    <a:lnTo>
                      <a:pt x="758" y="847"/>
                    </a:lnTo>
                    <a:lnTo>
                      <a:pt x="771" y="847"/>
                    </a:lnTo>
                    <a:lnTo>
                      <a:pt x="779" y="847"/>
                    </a:lnTo>
                    <a:lnTo>
                      <a:pt x="779" y="851"/>
                    </a:lnTo>
                    <a:lnTo>
                      <a:pt x="779" y="855"/>
                    </a:lnTo>
                    <a:lnTo>
                      <a:pt x="746" y="875"/>
                    </a:lnTo>
                    <a:lnTo>
                      <a:pt x="726" y="883"/>
                    </a:lnTo>
                    <a:lnTo>
                      <a:pt x="722" y="887"/>
                    </a:lnTo>
                    <a:lnTo>
                      <a:pt x="718" y="887"/>
                    </a:lnTo>
                    <a:lnTo>
                      <a:pt x="718" y="919"/>
                    </a:lnTo>
                    <a:lnTo>
                      <a:pt x="718" y="948"/>
                    </a:lnTo>
                    <a:lnTo>
                      <a:pt x="722" y="972"/>
                    </a:lnTo>
                    <a:lnTo>
                      <a:pt x="734" y="992"/>
                    </a:lnTo>
                    <a:lnTo>
                      <a:pt x="746" y="996"/>
                    </a:lnTo>
                    <a:lnTo>
                      <a:pt x="767" y="1000"/>
                    </a:lnTo>
                    <a:lnTo>
                      <a:pt x="775" y="996"/>
                    </a:lnTo>
                    <a:lnTo>
                      <a:pt x="787" y="992"/>
                    </a:lnTo>
                    <a:lnTo>
                      <a:pt x="791" y="984"/>
                    </a:lnTo>
                    <a:lnTo>
                      <a:pt x="799" y="972"/>
                    </a:lnTo>
                    <a:lnTo>
                      <a:pt x="795" y="964"/>
                    </a:lnTo>
                    <a:lnTo>
                      <a:pt x="799" y="919"/>
                    </a:lnTo>
                    <a:lnTo>
                      <a:pt x="807" y="915"/>
                    </a:lnTo>
                    <a:lnTo>
                      <a:pt x="815" y="907"/>
                    </a:lnTo>
                    <a:lnTo>
                      <a:pt x="823" y="907"/>
                    </a:lnTo>
                    <a:lnTo>
                      <a:pt x="831" y="907"/>
                    </a:lnTo>
                    <a:lnTo>
                      <a:pt x="835" y="928"/>
                    </a:lnTo>
                    <a:lnTo>
                      <a:pt x="843" y="960"/>
                    </a:lnTo>
                    <a:lnTo>
                      <a:pt x="843" y="964"/>
                    </a:lnTo>
                    <a:lnTo>
                      <a:pt x="851" y="972"/>
                    </a:lnTo>
                    <a:lnTo>
                      <a:pt x="859" y="980"/>
                    </a:lnTo>
                    <a:lnTo>
                      <a:pt x="871" y="984"/>
                    </a:lnTo>
                    <a:lnTo>
                      <a:pt x="888" y="988"/>
                    </a:lnTo>
                    <a:lnTo>
                      <a:pt x="912" y="988"/>
                    </a:lnTo>
                    <a:lnTo>
                      <a:pt x="920" y="980"/>
                    </a:lnTo>
                    <a:lnTo>
                      <a:pt x="932" y="976"/>
                    </a:lnTo>
                    <a:lnTo>
                      <a:pt x="936" y="976"/>
                    </a:lnTo>
                    <a:lnTo>
                      <a:pt x="944" y="976"/>
                    </a:lnTo>
                    <a:lnTo>
                      <a:pt x="952" y="992"/>
                    </a:lnTo>
                    <a:lnTo>
                      <a:pt x="960" y="1008"/>
                    </a:lnTo>
                    <a:lnTo>
                      <a:pt x="972" y="1016"/>
                    </a:lnTo>
                    <a:lnTo>
                      <a:pt x="1017" y="1036"/>
                    </a:lnTo>
                    <a:lnTo>
                      <a:pt x="1061" y="1045"/>
                    </a:lnTo>
                    <a:lnTo>
                      <a:pt x="1077" y="1045"/>
                    </a:lnTo>
                    <a:lnTo>
                      <a:pt x="1081" y="1032"/>
                    </a:lnTo>
                    <a:lnTo>
                      <a:pt x="1089" y="1020"/>
                    </a:lnTo>
                    <a:lnTo>
                      <a:pt x="1089" y="1008"/>
                    </a:lnTo>
                    <a:lnTo>
                      <a:pt x="1089" y="992"/>
                    </a:lnTo>
                    <a:lnTo>
                      <a:pt x="1085" y="984"/>
                    </a:lnTo>
                    <a:lnTo>
                      <a:pt x="1081" y="976"/>
                    </a:lnTo>
                    <a:lnTo>
                      <a:pt x="1081" y="940"/>
                    </a:lnTo>
                    <a:lnTo>
                      <a:pt x="1085" y="915"/>
                    </a:lnTo>
                    <a:lnTo>
                      <a:pt x="1077" y="899"/>
                    </a:lnTo>
                    <a:lnTo>
                      <a:pt x="1073" y="883"/>
                    </a:lnTo>
                    <a:lnTo>
                      <a:pt x="1065" y="883"/>
                    </a:lnTo>
                    <a:lnTo>
                      <a:pt x="1061" y="867"/>
                    </a:lnTo>
                    <a:lnTo>
                      <a:pt x="1053" y="855"/>
                    </a:lnTo>
                    <a:lnTo>
                      <a:pt x="1049" y="839"/>
                    </a:lnTo>
                    <a:lnTo>
                      <a:pt x="1049" y="827"/>
                    </a:lnTo>
                    <a:lnTo>
                      <a:pt x="1045" y="815"/>
                    </a:lnTo>
                    <a:lnTo>
                      <a:pt x="1037" y="811"/>
                    </a:lnTo>
                    <a:lnTo>
                      <a:pt x="1033" y="794"/>
                    </a:lnTo>
                    <a:lnTo>
                      <a:pt x="1033" y="782"/>
                    </a:lnTo>
                    <a:lnTo>
                      <a:pt x="1025" y="774"/>
                    </a:lnTo>
                    <a:lnTo>
                      <a:pt x="1017" y="766"/>
                    </a:lnTo>
                    <a:lnTo>
                      <a:pt x="1009" y="754"/>
                    </a:lnTo>
                    <a:lnTo>
                      <a:pt x="1000" y="746"/>
                    </a:lnTo>
                    <a:lnTo>
                      <a:pt x="996" y="738"/>
                    </a:lnTo>
                    <a:lnTo>
                      <a:pt x="988" y="726"/>
                    </a:lnTo>
                    <a:lnTo>
                      <a:pt x="964" y="726"/>
                    </a:lnTo>
                    <a:lnTo>
                      <a:pt x="952" y="726"/>
                    </a:lnTo>
                    <a:lnTo>
                      <a:pt x="944" y="722"/>
                    </a:lnTo>
                    <a:lnTo>
                      <a:pt x="940" y="718"/>
                    </a:lnTo>
                    <a:lnTo>
                      <a:pt x="940" y="706"/>
                    </a:lnTo>
                    <a:lnTo>
                      <a:pt x="940" y="694"/>
                    </a:lnTo>
                    <a:lnTo>
                      <a:pt x="972" y="673"/>
                    </a:lnTo>
                    <a:lnTo>
                      <a:pt x="1029" y="637"/>
                    </a:lnTo>
                    <a:lnTo>
                      <a:pt x="1085" y="629"/>
                    </a:lnTo>
                    <a:lnTo>
                      <a:pt x="1113" y="629"/>
                    </a:lnTo>
                    <a:lnTo>
                      <a:pt x="1117" y="629"/>
                    </a:lnTo>
                    <a:lnTo>
                      <a:pt x="1126" y="633"/>
                    </a:lnTo>
                    <a:lnTo>
                      <a:pt x="1134" y="633"/>
                    </a:lnTo>
                    <a:lnTo>
                      <a:pt x="1146" y="633"/>
                    </a:lnTo>
                    <a:lnTo>
                      <a:pt x="1154" y="629"/>
                    </a:lnTo>
                    <a:lnTo>
                      <a:pt x="1158" y="625"/>
                    </a:lnTo>
                    <a:lnTo>
                      <a:pt x="1178" y="625"/>
                    </a:lnTo>
                    <a:lnTo>
                      <a:pt x="1194" y="621"/>
                    </a:lnTo>
                    <a:lnTo>
                      <a:pt x="1202" y="625"/>
                    </a:lnTo>
                    <a:lnTo>
                      <a:pt x="1202" y="633"/>
                    </a:lnTo>
                    <a:lnTo>
                      <a:pt x="1206" y="637"/>
                    </a:lnTo>
                    <a:lnTo>
                      <a:pt x="1218" y="641"/>
                    </a:lnTo>
                    <a:lnTo>
                      <a:pt x="1226" y="645"/>
                    </a:lnTo>
                    <a:lnTo>
                      <a:pt x="1259" y="677"/>
                    </a:lnTo>
                    <a:lnTo>
                      <a:pt x="1275" y="690"/>
                    </a:lnTo>
                    <a:lnTo>
                      <a:pt x="1295" y="690"/>
                    </a:lnTo>
                    <a:lnTo>
                      <a:pt x="1307" y="690"/>
                    </a:lnTo>
                    <a:lnTo>
                      <a:pt x="1319" y="694"/>
                    </a:lnTo>
                    <a:lnTo>
                      <a:pt x="1323" y="698"/>
                    </a:lnTo>
                    <a:lnTo>
                      <a:pt x="1327" y="706"/>
                    </a:lnTo>
                    <a:lnTo>
                      <a:pt x="1331" y="718"/>
                    </a:lnTo>
                    <a:lnTo>
                      <a:pt x="1331" y="722"/>
                    </a:lnTo>
                    <a:lnTo>
                      <a:pt x="1331" y="734"/>
                    </a:lnTo>
                    <a:lnTo>
                      <a:pt x="1319" y="754"/>
                    </a:lnTo>
                    <a:lnTo>
                      <a:pt x="1311" y="766"/>
                    </a:lnTo>
                    <a:lnTo>
                      <a:pt x="1311" y="778"/>
                    </a:lnTo>
                    <a:lnTo>
                      <a:pt x="1311" y="790"/>
                    </a:lnTo>
                    <a:lnTo>
                      <a:pt x="1323" y="807"/>
                    </a:lnTo>
                    <a:lnTo>
                      <a:pt x="1331" y="819"/>
                    </a:lnTo>
                    <a:lnTo>
                      <a:pt x="1339" y="827"/>
                    </a:lnTo>
                    <a:lnTo>
                      <a:pt x="1355" y="839"/>
                    </a:lnTo>
                    <a:lnTo>
                      <a:pt x="1355" y="847"/>
                    </a:lnTo>
                    <a:lnTo>
                      <a:pt x="1355" y="859"/>
                    </a:lnTo>
                    <a:lnTo>
                      <a:pt x="1351" y="867"/>
                    </a:lnTo>
                    <a:lnTo>
                      <a:pt x="1351" y="879"/>
                    </a:lnTo>
                    <a:lnTo>
                      <a:pt x="1339" y="887"/>
                    </a:lnTo>
                    <a:lnTo>
                      <a:pt x="1331" y="899"/>
                    </a:lnTo>
                    <a:lnTo>
                      <a:pt x="1331" y="907"/>
                    </a:lnTo>
                    <a:lnTo>
                      <a:pt x="1331" y="919"/>
                    </a:lnTo>
                    <a:lnTo>
                      <a:pt x="1323" y="948"/>
                    </a:lnTo>
                    <a:lnTo>
                      <a:pt x="1319" y="968"/>
                    </a:lnTo>
                    <a:lnTo>
                      <a:pt x="1307" y="972"/>
                    </a:lnTo>
                    <a:lnTo>
                      <a:pt x="1295" y="976"/>
                    </a:lnTo>
                    <a:lnTo>
                      <a:pt x="1283" y="976"/>
                    </a:lnTo>
                    <a:lnTo>
                      <a:pt x="1275" y="972"/>
                    </a:lnTo>
                    <a:lnTo>
                      <a:pt x="1271" y="972"/>
                    </a:lnTo>
                    <a:lnTo>
                      <a:pt x="1259" y="972"/>
                    </a:lnTo>
                    <a:lnTo>
                      <a:pt x="1247" y="972"/>
                    </a:lnTo>
                    <a:lnTo>
                      <a:pt x="1239" y="980"/>
                    </a:lnTo>
                    <a:lnTo>
                      <a:pt x="1226" y="992"/>
                    </a:lnTo>
                    <a:lnTo>
                      <a:pt x="1222" y="1020"/>
                    </a:lnTo>
                    <a:lnTo>
                      <a:pt x="1214" y="1045"/>
                    </a:lnTo>
                    <a:lnTo>
                      <a:pt x="1210" y="1049"/>
                    </a:lnTo>
                    <a:lnTo>
                      <a:pt x="1206" y="1057"/>
                    </a:lnTo>
                    <a:lnTo>
                      <a:pt x="1206" y="1093"/>
                    </a:lnTo>
                    <a:lnTo>
                      <a:pt x="1206" y="1121"/>
                    </a:lnTo>
                    <a:lnTo>
                      <a:pt x="1210" y="1125"/>
                    </a:lnTo>
                    <a:lnTo>
                      <a:pt x="1218" y="1133"/>
                    </a:lnTo>
                    <a:lnTo>
                      <a:pt x="1218" y="1149"/>
                    </a:lnTo>
                    <a:lnTo>
                      <a:pt x="1218" y="1170"/>
                    </a:lnTo>
                    <a:lnTo>
                      <a:pt x="1218" y="1186"/>
                    </a:lnTo>
                    <a:lnTo>
                      <a:pt x="1214" y="1202"/>
                    </a:lnTo>
                    <a:lnTo>
                      <a:pt x="1190" y="1210"/>
                    </a:lnTo>
                    <a:lnTo>
                      <a:pt x="1170" y="1210"/>
                    </a:lnTo>
                    <a:lnTo>
                      <a:pt x="1166" y="1210"/>
                    </a:lnTo>
                    <a:lnTo>
                      <a:pt x="1166" y="1218"/>
                    </a:lnTo>
                    <a:lnTo>
                      <a:pt x="1142" y="1218"/>
                    </a:lnTo>
                    <a:lnTo>
                      <a:pt x="1126" y="1218"/>
                    </a:lnTo>
                    <a:lnTo>
                      <a:pt x="1113" y="1222"/>
                    </a:lnTo>
                    <a:lnTo>
                      <a:pt x="1109" y="1230"/>
                    </a:lnTo>
                    <a:lnTo>
                      <a:pt x="1109" y="1246"/>
                    </a:lnTo>
                    <a:lnTo>
                      <a:pt x="1109" y="1266"/>
                    </a:lnTo>
                    <a:lnTo>
                      <a:pt x="1130" y="1287"/>
                    </a:lnTo>
                    <a:lnTo>
                      <a:pt x="1134" y="1295"/>
                    </a:lnTo>
                    <a:lnTo>
                      <a:pt x="1134" y="1311"/>
                    </a:lnTo>
                    <a:lnTo>
                      <a:pt x="1134" y="1319"/>
                    </a:lnTo>
                    <a:lnTo>
                      <a:pt x="1126" y="1331"/>
                    </a:lnTo>
                    <a:lnTo>
                      <a:pt x="1113" y="1339"/>
                    </a:lnTo>
                    <a:lnTo>
                      <a:pt x="1105" y="1351"/>
                    </a:lnTo>
                    <a:lnTo>
                      <a:pt x="1097" y="1355"/>
                    </a:lnTo>
                    <a:lnTo>
                      <a:pt x="1077" y="1359"/>
                    </a:lnTo>
                    <a:lnTo>
                      <a:pt x="1053" y="1363"/>
                    </a:lnTo>
                    <a:lnTo>
                      <a:pt x="1045" y="1375"/>
                    </a:lnTo>
                    <a:lnTo>
                      <a:pt x="1037" y="1375"/>
                    </a:lnTo>
                    <a:lnTo>
                      <a:pt x="1029" y="1375"/>
                    </a:lnTo>
                    <a:lnTo>
                      <a:pt x="1021" y="1375"/>
                    </a:lnTo>
                    <a:lnTo>
                      <a:pt x="1021" y="1396"/>
                    </a:lnTo>
                    <a:lnTo>
                      <a:pt x="1021" y="1412"/>
                    </a:lnTo>
                    <a:lnTo>
                      <a:pt x="1017" y="1412"/>
                    </a:lnTo>
                    <a:lnTo>
                      <a:pt x="1013" y="1416"/>
                    </a:lnTo>
                    <a:lnTo>
                      <a:pt x="1013" y="1424"/>
                    </a:lnTo>
                    <a:lnTo>
                      <a:pt x="1009" y="1428"/>
                    </a:lnTo>
                    <a:lnTo>
                      <a:pt x="988" y="1428"/>
                    </a:lnTo>
                    <a:lnTo>
                      <a:pt x="968" y="1428"/>
                    </a:lnTo>
                    <a:lnTo>
                      <a:pt x="960" y="1428"/>
                    </a:lnTo>
                    <a:lnTo>
                      <a:pt x="944" y="1424"/>
                    </a:lnTo>
                    <a:lnTo>
                      <a:pt x="936" y="1424"/>
                    </a:lnTo>
                    <a:lnTo>
                      <a:pt x="928" y="1428"/>
                    </a:lnTo>
                    <a:lnTo>
                      <a:pt x="920" y="1428"/>
                    </a:lnTo>
                    <a:lnTo>
                      <a:pt x="912" y="1440"/>
                    </a:lnTo>
                    <a:lnTo>
                      <a:pt x="912" y="1464"/>
                    </a:lnTo>
                    <a:lnTo>
                      <a:pt x="912" y="1492"/>
                    </a:lnTo>
                    <a:lnTo>
                      <a:pt x="916" y="1496"/>
                    </a:lnTo>
                    <a:lnTo>
                      <a:pt x="916" y="1509"/>
                    </a:lnTo>
                    <a:lnTo>
                      <a:pt x="928" y="1517"/>
                    </a:lnTo>
                    <a:lnTo>
                      <a:pt x="936" y="1525"/>
                    </a:lnTo>
                    <a:lnTo>
                      <a:pt x="936" y="1529"/>
                    </a:lnTo>
                    <a:lnTo>
                      <a:pt x="936" y="1533"/>
                    </a:lnTo>
                    <a:lnTo>
                      <a:pt x="928" y="1537"/>
                    </a:lnTo>
                    <a:lnTo>
                      <a:pt x="920" y="1545"/>
                    </a:lnTo>
                    <a:lnTo>
                      <a:pt x="904" y="1545"/>
                    </a:lnTo>
                    <a:lnTo>
                      <a:pt x="888" y="154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49" name="Freeform 61"/>
              <p:cNvSpPr>
                <a:spLocks/>
              </p:cNvSpPr>
              <p:nvPr/>
            </p:nvSpPr>
            <p:spPr bwMode="auto">
              <a:xfrm>
                <a:off x="4132349" y="1611763"/>
                <a:ext cx="1624014" cy="1045798"/>
              </a:xfrm>
              <a:custGeom>
                <a:avLst/>
                <a:gdLst>
                  <a:gd name="T0" fmla="*/ 2147483647 w 1808"/>
                  <a:gd name="T1" fmla="*/ 2147483647 h 1174"/>
                  <a:gd name="T2" fmla="*/ 2147483647 w 1808"/>
                  <a:gd name="T3" fmla="*/ 2147483647 h 1174"/>
                  <a:gd name="T4" fmla="*/ 2147483647 w 1808"/>
                  <a:gd name="T5" fmla="*/ 2147483647 h 1174"/>
                  <a:gd name="T6" fmla="*/ 2147483647 w 1808"/>
                  <a:gd name="T7" fmla="*/ 2147483647 h 1174"/>
                  <a:gd name="T8" fmla="*/ 2147483647 w 1808"/>
                  <a:gd name="T9" fmla="*/ 2147483647 h 1174"/>
                  <a:gd name="T10" fmla="*/ 2147483647 w 1808"/>
                  <a:gd name="T11" fmla="*/ 2147483647 h 1174"/>
                  <a:gd name="T12" fmla="*/ 2147483647 w 1808"/>
                  <a:gd name="T13" fmla="*/ 2147483647 h 1174"/>
                  <a:gd name="T14" fmla="*/ 2147483647 w 1808"/>
                  <a:gd name="T15" fmla="*/ 2147483647 h 1174"/>
                  <a:gd name="T16" fmla="*/ 2147483647 w 1808"/>
                  <a:gd name="T17" fmla="*/ 2147483647 h 1174"/>
                  <a:gd name="T18" fmla="*/ 2147483647 w 1808"/>
                  <a:gd name="T19" fmla="*/ 2147483647 h 1174"/>
                  <a:gd name="T20" fmla="*/ 2147483647 w 1808"/>
                  <a:gd name="T21" fmla="*/ 2147483647 h 1174"/>
                  <a:gd name="T22" fmla="*/ 2147483647 w 1808"/>
                  <a:gd name="T23" fmla="*/ 2147483647 h 1174"/>
                  <a:gd name="T24" fmla="*/ 2147483647 w 1808"/>
                  <a:gd name="T25" fmla="*/ 2147483647 h 1174"/>
                  <a:gd name="T26" fmla="*/ 2147483647 w 1808"/>
                  <a:gd name="T27" fmla="*/ 2147483647 h 1174"/>
                  <a:gd name="T28" fmla="*/ 0 w 1808"/>
                  <a:gd name="T29" fmla="*/ 2147483647 h 1174"/>
                  <a:gd name="T30" fmla="*/ 2147483647 w 1808"/>
                  <a:gd name="T31" fmla="*/ 2147483647 h 1174"/>
                  <a:gd name="T32" fmla="*/ 2147483647 w 1808"/>
                  <a:gd name="T33" fmla="*/ 2147483647 h 1174"/>
                  <a:gd name="T34" fmla="*/ 2147483647 w 1808"/>
                  <a:gd name="T35" fmla="*/ 2147483647 h 1174"/>
                  <a:gd name="T36" fmla="*/ 2147483647 w 1808"/>
                  <a:gd name="T37" fmla="*/ 2147483647 h 1174"/>
                  <a:gd name="T38" fmla="*/ 2147483647 w 1808"/>
                  <a:gd name="T39" fmla="*/ 2147483647 h 1174"/>
                  <a:gd name="T40" fmla="*/ 2147483647 w 1808"/>
                  <a:gd name="T41" fmla="*/ 2147483647 h 1174"/>
                  <a:gd name="T42" fmla="*/ 2147483647 w 1808"/>
                  <a:gd name="T43" fmla="*/ 2147483647 h 1174"/>
                  <a:gd name="T44" fmla="*/ 2147483647 w 1808"/>
                  <a:gd name="T45" fmla="*/ 2147483647 h 1174"/>
                  <a:gd name="T46" fmla="*/ 2147483647 w 1808"/>
                  <a:gd name="T47" fmla="*/ 2147483647 h 1174"/>
                  <a:gd name="T48" fmla="*/ 2147483647 w 1808"/>
                  <a:gd name="T49" fmla="*/ 2147483647 h 1174"/>
                  <a:gd name="T50" fmla="*/ 2147483647 w 1808"/>
                  <a:gd name="T51" fmla="*/ 2147483647 h 1174"/>
                  <a:gd name="T52" fmla="*/ 2147483647 w 1808"/>
                  <a:gd name="T53" fmla="*/ 2147483647 h 1174"/>
                  <a:gd name="T54" fmla="*/ 2147483647 w 1808"/>
                  <a:gd name="T55" fmla="*/ 2147483647 h 1174"/>
                  <a:gd name="T56" fmla="*/ 2147483647 w 1808"/>
                  <a:gd name="T57" fmla="*/ 2147483647 h 1174"/>
                  <a:gd name="T58" fmla="*/ 2147483647 w 1808"/>
                  <a:gd name="T59" fmla="*/ 2147483647 h 1174"/>
                  <a:gd name="T60" fmla="*/ 2147483647 w 1808"/>
                  <a:gd name="T61" fmla="*/ 2147483647 h 1174"/>
                  <a:gd name="T62" fmla="*/ 2147483647 w 1808"/>
                  <a:gd name="T63" fmla="*/ 2147483647 h 1174"/>
                  <a:gd name="T64" fmla="*/ 2147483647 w 1808"/>
                  <a:gd name="T65" fmla="*/ 2147483647 h 1174"/>
                  <a:gd name="T66" fmla="*/ 2147483647 w 1808"/>
                  <a:gd name="T67" fmla="*/ 2147483647 h 1174"/>
                  <a:gd name="T68" fmla="*/ 2147483647 w 1808"/>
                  <a:gd name="T69" fmla="*/ 2147483647 h 1174"/>
                  <a:gd name="T70" fmla="*/ 2147483647 w 1808"/>
                  <a:gd name="T71" fmla="*/ 2147483647 h 1174"/>
                  <a:gd name="T72" fmla="*/ 2147483647 w 1808"/>
                  <a:gd name="T73" fmla="*/ 2147483647 h 1174"/>
                  <a:gd name="T74" fmla="*/ 2147483647 w 1808"/>
                  <a:gd name="T75" fmla="*/ 2147483647 h 1174"/>
                  <a:gd name="T76" fmla="*/ 2147483647 w 1808"/>
                  <a:gd name="T77" fmla="*/ 2147483647 h 1174"/>
                  <a:gd name="T78" fmla="*/ 2147483647 w 1808"/>
                  <a:gd name="T79" fmla="*/ 2147483647 h 1174"/>
                  <a:gd name="T80" fmla="*/ 2147483647 w 1808"/>
                  <a:gd name="T81" fmla="*/ 2147483647 h 1174"/>
                  <a:gd name="T82" fmla="*/ 2147483647 w 1808"/>
                  <a:gd name="T83" fmla="*/ 2147483647 h 1174"/>
                  <a:gd name="T84" fmla="*/ 2147483647 w 1808"/>
                  <a:gd name="T85" fmla="*/ 2147483647 h 1174"/>
                  <a:gd name="T86" fmla="*/ 2147483647 w 1808"/>
                  <a:gd name="T87" fmla="*/ 2147483647 h 1174"/>
                  <a:gd name="T88" fmla="*/ 2147483647 w 1808"/>
                  <a:gd name="T89" fmla="*/ 2147483647 h 1174"/>
                  <a:gd name="T90" fmla="*/ 2147483647 w 1808"/>
                  <a:gd name="T91" fmla="*/ 2147483647 h 1174"/>
                  <a:gd name="T92" fmla="*/ 2147483647 w 1808"/>
                  <a:gd name="T93" fmla="*/ 2147483647 h 1174"/>
                  <a:gd name="T94" fmla="*/ 2147483647 w 1808"/>
                  <a:gd name="T95" fmla="*/ 2147483647 h 1174"/>
                  <a:gd name="T96" fmla="*/ 2147483647 w 1808"/>
                  <a:gd name="T97" fmla="*/ 2147483647 h 1174"/>
                  <a:gd name="T98" fmla="*/ 2147483647 w 1808"/>
                  <a:gd name="T99" fmla="*/ 2147483647 h 1174"/>
                  <a:gd name="T100" fmla="*/ 2147483647 w 1808"/>
                  <a:gd name="T101" fmla="*/ 2147483647 h 1174"/>
                  <a:gd name="T102" fmla="*/ 2147483647 w 1808"/>
                  <a:gd name="T103" fmla="*/ 2147483647 h 1174"/>
                  <a:gd name="T104" fmla="*/ 2147483647 w 1808"/>
                  <a:gd name="T105" fmla="*/ 2147483647 h 1174"/>
                  <a:gd name="T106" fmla="*/ 2147483647 w 1808"/>
                  <a:gd name="T107" fmla="*/ 2147483647 h 1174"/>
                  <a:gd name="T108" fmla="*/ 2147483647 w 1808"/>
                  <a:gd name="T109" fmla="*/ 2147483647 h 1174"/>
                  <a:gd name="T110" fmla="*/ 2147483647 w 1808"/>
                  <a:gd name="T111" fmla="*/ 2147483647 h 1174"/>
                  <a:gd name="T112" fmla="*/ 2147483647 w 1808"/>
                  <a:gd name="T113" fmla="*/ 2147483647 h 1174"/>
                  <a:gd name="T114" fmla="*/ 2147483647 w 1808"/>
                  <a:gd name="T115" fmla="*/ 2147483647 h 1174"/>
                  <a:gd name="T116" fmla="*/ 2147483647 w 1808"/>
                  <a:gd name="T117" fmla="*/ 2147483647 h 1174"/>
                  <a:gd name="T118" fmla="*/ 2147483647 w 1808"/>
                  <a:gd name="T119" fmla="*/ 2147483647 h 1174"/>
                  <a:gd name="T120" fmla="*/ 2147483647 w 1808"/>
                  <a:gd name="T121" fmla="*/ 2147483647 h 1174"/>
                  <a:gd name="T122" fmla="*/ 2147483647 w 1808"/>
                  <a:gd name="T123" fmla="*/ 2147483647 h 117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08"/>
                  <a:gd name="T187" fmla="*/ 0 h 1174"/>
                  <a:gd name="T188" fmla="*/ 1808 w 1808"/>
                  <a:gd name="T189" fmla="*/ 1174 h 117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08" h="1174">
                    <a:moveTo>
                      <a:pt x="751" y="1170"/>
                    </a:moveTo>
                    <a:lnTo>
                      <a:pt x="751" y="1166"/>
                    </a:lnTo>
                    <a:lnTo>
                      <a:pt x="747" y="1166"/>
                    </a:lnTo>
                    <a:lnTo>
                      <a:pt x="727" y="1162"/>
                    </a:lnTo>
                    <a:lnTo>
                      <a:pt x="702" y="1149"/>
                    </a:lnTo>
                    <a:lnTo>
                      <a:pt x="690" y="1149"/>
                    </a:lnTo>
                    <a:lnTo>
                      <a:pt x="682" y="1149"/>
                    </a:lnTo>
                    <a:lnTo>
                      <a:pt x="670" y="1158"/>
                    </a:lnTo>
                    <a:lnTo>
                      <a:pt x="666" y="1166"/>
                    </a:lnTo>
                    <a:lnTo>
                      <a:pt x="658" y="1166"/>
                    </a:lnTo>
                    <a:lnTo>
                      <a:pt x="646" y="1166"/>
                    </a:lnTo>
                    <a:lnTo>
                      <a:pt x="630" y="1149"/>
                    </a:lnTo>
                    <a:lnTo>
                      <a:pt x="622" y="1137"/>
                    </a:lnTo>
                    <a:lnTo>
                      <a:pt x="614" y="1129"/>
                    </a:lnTo>
                    <a:lnTo>
                      <a:pt x="610" y="1125"/>
                    </a:lnTo>
                    <a:lnTo>
                      <a:pt x="602" y="1121"/>
                    </a:lnTo>
                    <a:lnTo>
                      <a:pt x="598" y="1117"/>
                    </a:lnTo>
                    <a:lnTo>
                      <a:pt x="593" y="1117"/>
                    </a:lnTo>
                    <a:lnTo>
                      <a:pt x="585" y="1113"/>
                    </a:lnTo>
                    <a:lnTo>
                      <a:pt x="585" y="1101"/>
                    </a:lnTo>
                    <a:lnTo>
                      <a:pt x="585" y="1089"/>
                    </a:lnTo>
                    <a:lnTo>
                      <a:pt x="593" y="1085"/>
                    </a:lnTo>
                    <a:lnTo>
                      <a:pt x="593" y="1081"/>
                    </a:lnTo>
                    <a:lnTo>
                      <a:pt x="593" y="1061"/>
                    </a:lnTo>
                    <a:lnTo>
                      <a:pt x="598" y="1032"/>
                    </a:lnTo>
                    <a:lnTo>
                      <a:pt x="585" y="1024"/>
                    </a:lnTo>
                    <a:lnTo>
                      <a:pt x="581" y="1020"/>
                    </a:lnTo>
                    <a:lnTo>
                      <a:pt x="569" y="1016"/>
                    </a:lnTo>
                    <a:lnTo>
                      <a:pt x="557" y="1016"/>
                    </a:lnTo>
                    <a:lnTo>
                      <a:pt x="553" y="1012"/>
                    </a:lnTo>
                    <a:lnTo>
                      <a:pt x="545" y="996"/>
                    </a:lnTo>
                    <a:lnTo>
                      <a:pt x="545" y="988"/>
                    </a:lnTo>
                    <a:lnTo>
                      <a:pt x="545" y="976"/>
                    </a:lnTo>
                    <a:lnTo>
                      <a:pt x="549" y="968"/>
                    </a:lnTo>
                    <a:lnTo>
                      <a:pt x="553" y="964"/>
                    </a:lnTo>
                    <a:lnTo>
                      <a:pt x="553" y="952"/>
                    </a:lnTo>
                    <a:lnTo>
                      <a:pt x="553" y="932"/>
                    </a:lnTo>
                    <a:lnTo>
                      <a:pt x="549" y="915"/>
                    </a:lnTo>
                    <a:lnTo>
                      <a:pt x="545" y="895"/>
                    </a:lnTo>
                    <a:lnTo>
                      <a:pt x="545" y="867"/>
                    </a:lnTo>
                    <a:lnTo>
                      <a:pt x="545" y="839"/>
                    </a:lnTo>
                    <a:lnTo>
                      <a:pt x="541" y="835"/>
                    </a:lnTo>
                    <a:lnTo>
                      <a:pt x="541" y="831"/>
                    </a:lnTo>
                    <a:lnTo>
                      <a:pt x="541" y="811"/>
                    </a:lnTo>
                    <a:lnTo>
                      <a:pt x="541" y="786"/>
                    </a:lnTo>
                    <a:lnTo>
                      <a:pt x="529" y="774"/>
                    </a:lnTo>
                    <a:lnTo>
                      <a:pt x="521" y="758"/>
                    </a:lnTo>
                    <a:lnTo>
                      <a:pt x="517" y="750"/>
                    </a:lnTo>
                    <a:lnTo>
                      <a:pt x="509" y="746"/>
                    </a:lnTo>
                    <a:lnTo>
                      <a:pt x="493" y="746"/>
                    </a:lnTo>
                    <a:lnTo>
                      <a:pt x="472" y="742"/>
                    </a:lnTo>
                    <a:lnTo>
                      <a:pt x="456" y="726"/>
                    </a:lnTo>
                    <a:lnTo>
                      <a:pt x="432" y="710"/>
                    </a:lnTo>
                    <a:lnTo>
                      <a:pt x="432" y="702"/>
                    </a:lnTo>
                    <a:lnTo>
                      <a:pt x="432" y="698"/>
                    </a:lnTo>
                    <a:lnTo>
                      <a:pt x="412" y="677"/>
                    </a:lnTo>
                    <a:lnTo>
                      <a:pt x="408" y="669"/>
                    </a:lnTo>
                    <a:lnTo>
                      <a:pt x="384" y="669"/>
                    </a:lnTo>
                    <a:lnTo>
                      <a:pt x="364" y="669"/>
                    </a:lnTo>
                    <a:lnTo>
                      <a:pt x="347" y="685"/>
                    </a:lnTo>
                    <a:lnTo>
                      <a:pt x="327" y="694"/>
                    </a:lnTo>
                    <a:lnTo>
                      <a:pt x="319" y="694"/>
                    </a:lnTo>
                    <a:lnTo>
                      <a:pt x="311" y="698"/>
                    </a:lnTo>
                    <a:lnTo>
                      <a:pt x="311" y="690"/>
                    </a:lnTo>
                    <a:lnTo>
                      <a:pt x="303" y="673"/>
                    </a:lnTo>
                    <a:lnTo>
                      <a:pt x="295" y="653"/>
                    </a:lnTo>
                    <a:lnTo>
                      <a:pt x="283" y="625"/>
                    </a:lnTo>
                    <a:lnTo>
                      <a:pt x="271" y="613"/>
                    </a:lnTo>
                    <a:lnTo>
                      <a:pt x="263" y="601"/>
                    </a:lnTo>
                    <a:lnTo>
                      <a:pt x="243" y="597"/>
                    </a:lnTo>
                    <a:lnTo>
                      <a:pt x="218" y="593"/>
                    </a:lnTo>
                    <a:lnTo>
                      <a:pt x="214" y="589"/>
                    </a:lnTo>
                    <a:lnTo>
                      <a:pt x="206" y="585"/>
                    </a:lnTo>
                    <a:lnTo>
                      <a:pt x="198" y="568"/>
                    </a:lnTo>
                    <a:lnTo>
                      <a:pt x="182" y="552"/>
                    </a:lnTo>
                    <a:lnTo>
                      <a:pt x="178" y="552"/>
                    </a:lnTo>
                    <a:lnTo>
                      <a:pt x="170" y="548"/>
                    </a:lnTo>
                    <a:lnTo>
                      <a:pt x="158" y="532"/>
                    </a:lnTo>
                    <a:lnTo>
                      <a:pt x="154" y="516"/>
                    </a:lnTo>
                    <a:lnTo>
                      <a:pt x="150" y="500"/>
                    </a:lnTo>
                    <a:lnTo>
                      <a:pt x="146" y="488"/>
                    </a:lnTo>
                    <a:lnTo>
                      <a:pt x="134" y="480"/>
                    </a:lnTo>
                    <a:lnTo>
                      <a:pt x="130" y="468"/>
                    </a:lnTo>
                    <a:lnTo>
                      <a:pt x="101" y="447"/>
                    </a:lnTo>
                    <a:lnTo>
                      <a:pt x="89" y="431"/>
                    </a:lnTo>
                    <a:lnTo>
                      <a:pt x="57" y="431"/>
                    </a:lnTo>
                    <a:lnTo>
                      <a:pt x="17" y="431"/>
                    </a:lnTo>
                    <a:lnTo>
                      <a:pt x="9" y="415"/>
                    </a:lnTo>
                    <a:lnTo>
                      <a:pt x="0" y="403"/>
                    </a:lnTo>
                    <a:lnTo>
                      <a:pt x="0" y="395"/>
                    </a:lnTo>
                    <a:lnTo>
                      <a:pt x="0" y="383"/>
                    </a:lnTo>
                    <a:lnTo>
                      <a:pt x="9" y="371"/>
                    </a:lnTo>
                    <a:lnTo>
                      <a:pt x="21" y="359"/>
                    </a:lnTo>
                    <a:lnTo>
                      <a:pt x="25" y="343"/>
                    </a:lnTo>
                    <a:lnTo>
                      <a:pt x="29" y="339"/>
                    </a:lnTo>
                    <a:lnTo>
                      <a:pt x="73" y="334"/>
                    </a:lnTo>
                    <a:lnTo>
                      <a:pt x="89" y="330"/>
                    </a:lnTo>
                    <a:lnTo>
                      <a:pt x="101" y="330"/>
                    </a:lnTo>
                    <a:lnTo>
                      <a:pt x="121" y="330"/>
                    </a:lnTo>
                    <a:lnTo>
                      <a:pt x="146" y="322"/>
                    </a:lnTo>
                    <a:lnTo>
                      <a:pt x="150" y="314"/>
                    </a:lnTo>
                    <a:lnTo>
                      <a:pt x="162" y="314"/>
                    </a:lnTo>
                    <a:lnTo>
                      <a:pt x="170" y="310"/>
                    </a:lnTo>
                    <a:lnTo>
                      <a:pt x="178" y="302"/>
                    </a:lnTo>
                    <a:lnTo>
                      <a:pt x="182" y="298"/>
                    </a:lnTo>
                    <a:lnTo>
                      <a:pt x="186" y="290"/>
                    </a:lnTo>
                    <a:lnTo>
                      <a:pt x="194" y="278"/>
                    </a:lnTo>
                    <a:lnTo>
                      <a:pt x="194" y="230"/>
                    </a:lnTo>
                    <a:lnTo>
                      <a:pt x="194" y="189"/>
                    </a:lnTo>
                    <a:lnTo>
                      <a:pt x="194" y="177"/>
                    </a:lnTo>
                    <a:lnTo>
                      <a:pt x="198" y="177"/>
                    </a:lnTo>
                    <a:lnTo>
                      <a:pt x="206" y="177"/>
                    </a:lnTo>
                    <a:lnTo>
                      <a:pt x="214" y="177"/>
                    </a:lnTo>
                    <a:lnTo>
                      <a:pt x="230" y="165"/>
                    </a:lnTo>
                    <a:lnTo>
                      <a:pt x="238" y="161"/>
                    </a:lnTo>
                    <a:lnTo>
                      <a:pt x="247" y="149"/>
                    </a:lnTo>
                    <a:lnTo>
                      <a:pt x="251" y="117"/>
                    </a:lnTo>
                    <a:lnTo>
                      <a:pt x="259" y="117"/>
                    </a:lnTo>
                    <a:lnTo>
                      <a:pt x="263" y="113"/>
                    </a:lnTo>
                    <a:lnTo>
                      <a:pt x="275" y="105"/>
                    </a:lnTo>
                    <a:lnTo>
                      <a:pt x="295" y="100"/>
                    </a:lnTo>
                    <a:lnTo>
                      <a:pt x="299" y="92"/>
                    </a:lnTo>
                    <a:lnTo>
                      <a:pt x="311" y="84"/>
                    </a:lnTo>
                    <a:lnTo>
                      <a:pt x="315" y="72"/>
                    </a:lnTo>
                    <a:lnTo>
                      <a:pt x="319" y="60"/>
                    </a:lnTo>
                    <a:lnTo>
                      <a:pt x="335" y="36"/>
                    </a:lnTo>
                    <a:lnTo>
                      <a:pt x="355" y="20"/>
                    </a:lnTo>
                    <a:lnTo>
                      <a:pt x="364" y="20"/>
                    </a:lnTo>
                    <a:lnTo>
                      <a:pt x="380" y="20"/>
                    </a:lnTo>
                    <a:lnTo>
                      <a:pt x="384" y="40"/>
                    </a:lnTo>
                    <a:lnTo>
                      <a:pt x="384" y="48"/>
                    </a:lnTo>
                    <a:lnTo>
                      <a:pt x="380" y="52"/>
                    </a:lnTo>
                    <a:lnTo>
                      <a:pt x="380" y="60"/>
                    </a:lnTo>
                    <a:lnTo>
                      <a:pt x="364" y="64"/>
                    </a:lnTo>
                    <a:lnTo>
                      <a:pt x="355" y="68"/>
                    </a:lnTo>
                    <a:lnTo>
                      <a:pt x="351" y="72"/>
                    </a:lnTo>
                    <a:lnTo>
                      <a:pt x="347" y="76"/>
                    </a:lnTo>
                    <a:lnTo>
                      <a:pt x="347" y="100"/>
                    </a:lnTo>
                    <a:lnTo>
                      <a:pt x="347" y="117"/>
                    </a:lnTo>
                    <a:lnTo>
                      <a:pt x="351" y="121"/>
                    </a:lnTo>
                    <a:lnTo>
                      <a:pt x="359" y="125"/>
                    </a:lnTo>
                    <a:lnTo>
                      <a:pt x="368" y="125"/>
                    </a:lnTo>
                    <a:lnTo>
                      <a:pt x="380" y="129"/>
                    </a:lnTo>
                    <a:lnTo>
                      <a:pt x="408" y="149"/>
                    </a:lnTo>
                    <a:lnTo>
                      <a:pt x="432" y="165"/>
                    </a:lnTo>
                    <a:lnTo>
                      <a:pt x="460" y="173"/>
                    </a:lnTo>
                    <a:lnTo>
                      <a:pt x="493" y="177"/>
                    </a:lnTo>
                    <a:lnTo>
                      <a:pt x="533" y="177"/>
                    </a:lnTo>
                    <a:lnTo>
                      <a:pt x="577" y="177"/>
                    </a:lnTo>
                    <a:lnTo>
                      <a:pt x="602" y="173"/>
                    </a:lnTo>
                    <a:lnTo>
                      <a:pt x="622" y="161"/>
                    </a:lnTo>
                    <a:lnTo>
                      <a:pt x="634" y="141"/>
                    </a:lnTo>
                    <a:lnTo>
                      <a:pt x="650" y="121"/>
                    </a:lnTo>
                    <a:lnTo>
                      <a:pt x="650" y="100"/>
                    </a:lnTo>
                    <a:lnTo>
                      <a:pt x="638" y="60"/>
                    </a:lnTo>
                    <a:lnTo>
                      <a:pt x="634" y="44"/>
                    </a:lnTo>
                    <a:lnTo>
                      <a:pt x="630" y="28"/>
                    </a:lnTo>
                    <a:lnTo>
                      <a:pt x="622" y="24"/>
                    </a:lnTo>
                    <a:lnTo>
                      <a:pt x="614" y="20"/>
                    </a:lnTo>
                    <a:lnTo>
                      <a:pt x="614" y="12"/>
                    </a:lnTo>
                    <a:lnTo>
                      <a:pt x="622" y="0"/>
                    </a:lnTo>
                    <a:lnTo>
                      <a:pt x="646" y="12"/>
                    </a:lnTo>
                    <a:lnTo>
                      <a:pt x="694" y="28"/>
                    </a:lnTo>
                    <a:lnTo>
                      <a:pt x="715" y="44"/>
                    </a:lnTo>
                    <a:lnTo>
                      <a:pt x="731" y="64"/>
                    </a:lnTo>
                    <a:lnTo>
                      <a:pt x="739" y="76"/>
                    </a:lnTo>
                    <a:lnTo>
                      <a:pt x="743" y="80"/>
                    </a:lnTo>
                    <a:lnTo>
                      <a:pt x="743" y="100"/>
                    </a:lnTo>
                    <a:lnTo>
                      <a:pt x="743" y="121"/>
                    </a:lnTo>
                    <a:lnTo>
                      <a:pt x="731" y="137"/>
                    </a:lnTo>
                    <a:lnTo>
                      <a:pt x="727" y="141"/>
                    </a:lnTo>
                    <a:lnTo>
                      <a:pt x="723" y="157"/>
                    </a:lnTo>
                    <a:lnTo>
                      <a:pt x="719" y="173"/>
                    </a:lnTo>
                    <a:lnTo>
                      <a:pt x="719" y="177"/>
                    </a:lnTo>
                    <a:lnTo>
                      <a:pt x="719" y="189"/>
                    </a:lnTo>
                    <a:lnTo>
                      <a:pt x="731" y="205"/>
                    </a:lnTo>
                    <a:lnTo>
                      <a:pt x="747" y="222"/>
                    </a:lnTo>
                    <a:lnTo>
                      <a:pt x="755" y="226"/>
                    </a:lnTo>
                    <a:lnTo>
                      <a:pt x="767" y="230"/>
                    </a:lnTo>
                    <a:lnTo>
                      <a:pt x="775" y="238"/>
                    </a:lnTo>
                    <a:lnTo>
                      <a:pt x="779" y="250"/>
                    </a:lnTo>
                    <a:lnTo>
                      <a:pt x="779" y="270"/>
                    </a:lnTo>
                    <a:lnTo>
                      <a:pt x="783" y="290"/>
                    </a:lnTo>
                    <a:lnTo>
                      <a:pt x="771" y="298"/>
                    </a:lnTo>
                    <a:lnTo>
                      <a:pt x="763" y="310"/>
                    </a:lnTo>
                    <a:lnTo>
                      <a:pt x="747" y="318"/>
                    </a:lnTo>
                    <a:lnTo>
                      <a:pt x="739" y="326"/>
                    </a:lnTo>
                    <a:lnTo>
                      <a:pt x="739" y="330"/>
                    </a:lnTo>
                    <a:lnTo>
                      <a:pt x="731" y="334"/>
                    </a:lnTo>
                    <a:lnTo>
                      <a:pt x="719" y="343"/>
                    </a:lnTo>
                    <a:lnTo>
                      <a:pt x="698" y="359"/>
                    </a:lnTo>
                    <a:lnTo>
                      <a:pt x="698" y="363"/>
                    </a:lnTo>
                    <a:lnTo>
                      <a:pt x="698" y="367"/>
                    </a:lnTo>
                    <a:lnTo>
                      <a:pt x="698" y="391"/>
                    </a:lnTo>
                    <a:lnTo>
                      <a:pt x="698" y="411"/>
                    </a:lnTo>
                    <a:lnTo>
                      <a:pt x="710" y="415"/>
                    </a:lnTo>
                    <a:lnTo>
                      <a:pt x="723" y="423"/>
                    </a:lnTo>
                    <a:lnTo>
                      <a:pt x="731" y="447"/>
                    </a:lnTo>
                    <a:lnTo>
                      <a:pt x="747" y="476"/>
                    </a:lnTo>
                    <a:lnTo>
                      <a:pt x="755" y="480"/>
                    </a:lnTo>
                    <a:lnTo>
                      <a:pt x="775" y="484"/>
                    </a:lnTo>
                    <a:lnTo>
                      <a:pt x="803" y="484"/>
                    </a:lnTo>
                    <a:lnTo>
                      <a:pt x="840" y="484"/>
                    </a:lnTo>
                    <a:lnTo>
                      <a:pt x="868" y="492"/>
                    </a:lnTo>
                    <a:lnTo>
                      <a:pt x="904" y="496"/>
                    </a:lnTo>
                    <a:lnTo>
                      <a:pt x="908" y="500"/>
                    </a:lnTo>
                    <a:lnTo>
                      <a:pt x="912" y="504"/>
                    </a:lnTo>
                    <a:lnTo>
                      <a:pt x="912" y="536"/>
                    </a:lnTo>
                    <a:lnTo>
                      <a:pt x="916" y="568"/>
                    </a:lnTo>
                    <a:lnTo>
                      <a:pt x="920" y="577"/>
                    </a:lnTo>
                    <a:lnTo>
                      <a:pt x="924" y="585"/>
                    </a:lnTo>
                    <a:lnTo>
                      <a:pt x="948" y="613"/>
                    </a:lnTo>
                    <a:lnTo>
                      <a:pt x="973" y="637"/>
                    </a:lnTo>
                    <a:lnTo>
                      <a:pt x="977" y="641"/>
                    </a:lnTo>
                    <a:lnTo>
                      <a:pt x="977" y="653"/>
                    </a:lnTo>
                    <a:lnTo>
                      <a:pt x="989" y="661"/>
                    </a:lnTo>
                    <a:lnTo>
                      <a:pt x="993" y="669"/>
                    </a:lnTo>
                    <a:lnTo>
                      <a:pt x="1001" y="669"/>
                    </a:lnTo>
                    <a:lnTo>
                      <a:pt x="1013" y="669"/>
                    </a:lnTo>
                    <a:lnTo>
                      <a:pt x="1021" y="665"/>
                    </a:lnTo>
                    <a:lnTo>
                      <a:pt x="1025" y="661"/>
                    </a:lnTo>
                    <a:lnTo>
                      <a:pt x="1029" y="657"/>
                    </a:lnTo>
                    <a:lnTo>
                      <a:pt x="1037" y="649"/>
                    </a:lnTo>
                    <a:lnTo>
                      <a:pt x="1053" y="649"/>
                    </a:lnTo>
                    <a:lnTo>
                      <a:pt x="1074" y="649"/>
                    </a:lnTo>
                    <a:lnTo>
                      <a:pt x="1110" y="653"/>
                    </a:lnTo>
                    <a:lnTo>
                      <a:pt x="1142" y="657"/>
                    </a:lnTo>
                    <a:lnTo>
                      <a:pt x="1146" y="657"/>
                    </a:lnTo>
                    <a:lnTo>
                      <a:pt x="1150" y="661"/>
                    </a:lnTo>
                    <a:lnTo>
                      <a:pt x="1166" y="661"/>
                    </a:lnTo>
                    <a:lnTo>
                      <a:pt x="1178" y="661"/>
                    </a:lnTo>
                    <a:lnTo>
                      <a:pt x="1186" y="669"/>
                    </a:lnTo>
                    <a:lnTo>
                      <a:pt x="1186" y="677"/>
                    </a:lnTo>
                    <a:lnTo>
                      <a:pt x="1195" y="690"/>
                    </a:lnTo>
                    <a:lnTo>
                      <a:pt x="1199" y="698"/>
                    </a:lnTo>
                    <a:lnTo>
                      <a:pt x="1199" y="722"/>
                    </a:lnTo>
                    <a:lnTo>
                      <a:pt x="1203" y="738"/>
                    </a:lnTo>
                    <a:lnTo>
                      <a:pt x="1219" y="758"/>
                    </a:lnTo>
                    <a:lnTo>
                      <a:pt x="1231" y="762"/>
                    </a:lnTo>
                    <a:lnTo>
                      <a:pt x="1267" y="778"/>
                    </a:lnTo>
                    <a:lnTo>
                      <a:pt x="1308" y="794"/>
                    </a:lnTo>
                    <a:lnTo>
                      <a:pt x="1312" y="794"/>
                    </a:lnTo>
                    <a:lnTo>
                      <a:pt x="1316" y="798"/>
                    </a:lnTo>
                    <a:lnTo>
                      <a:pt x="1340" y="811"/>
                    </a:lnTo>
                    <a:lnTo>
                      <a:pt x="1356" y="811"/>
                    </a:lnTo>
                    <a:lnTo>
                      <a:pt x="1360" y="811"/>
                    </a:lnTo>
                    <a:lnTo>
                      <a:pt x="1368" y="802"/>
                    </a:lnTo>
                    <a:lnTo>
                      <a:pt x="1376" y="798"/>
                    </a:lnTo>
                    <a:lnTo>
                      <a:pt x="1388" y="794"/>
                    </a:lnTo>
                    <a:lnTo>
                      <a:pt x="1396" y="782"/>
                    </a:lnTo>
                    <a:lnTo>
                      <a:pt x="1400" y="774"/>
                    </a:lnTo>
                    <a:lnTo>
                      <a:pt x="1408" y="750"/>
                    </a:lnTo>
                    <a:lnTo>
                      <a:pt x="1412" y="726"/>
                    </a:lnTo>
                    <a:lnTo>
                      <a:pt x="1416" y="714"/>
                    </a:lnTo>
                    <a:lnTo>
                      <a:pt x="1425" y="710"/>
                    </a:lnTo>
                    <a:lnTo>
                      <a:pt x="1445" y="702"/>
                    </a:lnTo>
                    <a:lnTo>
                      <a:pt x="1469" y="698"/>
                    </a:lnTo>
                    <a:lnTo>
                      <a:pt x="1477" y="677"/>
                    </a:lnTo>
                    <a:lnTo>
                      <a:pt x="1489" y="665"/>
                    </a:lnTo>
                    <a:lnTo>
                      <a:pt x="1497" y="661"/>
                    </a:lnTo>
                    <a:lnTo>
                      <a:pt x="1501" y="657"/>
                    </a:lnTo>
                    <a:lnTo>
                      <a:pt x="1513" y="653"/>
                    </a:lnTo>
                    <a:lnTo>
                      <a:pt x="1533" y="653"/>
                    </a:lnTo>
                    <a:lnTo>
                      <a:pt x="1586" y="657"/>
                    </a:lnTo>
                    <a:lnTo>
                      <a:pt x="1602" y="661"/>
                    </a:lnTo>
                    <a:lnTo>
                      <a:pt x="1618" y="653"/>
                    </a:lnTo>
                    <a:lnTo>
                      <a:pt x="1626" y="641"/>
                    </a:lnTo>
                    <a:lnTo>
                      <a:pt x="1638" y="629"/>
                    </a:lnTo>
                    <a:lnTo>
                      <a:pt x="1646" y="621"/>
                    </a:lnTo>
                    <a:lnTo>
                      <a:pt x="1658" y="621"/>
                    </a:lnTo>
                    <a:lnTo>
                      <a:pt x="1683" y="625"/>
                    </a:lnTo>
                    <a:lnTo>
                      <a:pt x="1683" y="629"/>
                    </a:lnTo>
                    <a:lnTo>
                      <a:pt x="1703" y="629"/>
                    </a:lnTo>
                    <a:lnTo>
                      <a:pt x="1715" y="629"/>
                    </a:lnTo>
                    <a:lnTo>
                      <a:pt x="1727" y="621"/>
                    </a:lnTo>
                    <a:lnTo>
                      <a:pt x="1735" y="613"/>
                    </a:lnTo>
                    <a:lnTo>
                      <a:pt x="1743" y="597"/>
                    </a:lnTo>
                    <a:lnTo>
                      <a:pt x="1751" y="581"/>
                    </a:lnTo>
                    <a:lnTo>
                      <a:pt x="1763" y="581"/>
                    </a:lnTo>
                    <a:lnTo>
                      <a:pt x="1780" y="585"/>
                    </a:lnTo>
                    <a:lnTo>
                      <a:pt x="1792" y="597"/>
                    </a:lnTo>
                    <a:lnTo>
                      <a:pt x="1808" y="609"/>
                    </a:lnTo>
                    <a:lnTo>
                      <a:pt x="1808" y="625"/>
                    </a:lnTo>
                    <a:lnTo>
                      <a:pt x="1808" y="641"/>
                    </a:lnTo>
                    <a:lnTo>
                      <a:pt x="1800" y="669"/>
                    </a:lnTo>
                    <a:lnTo>
                      <a:pt x="1792" y="690"/>
                    </a:lnTo>
                    <a:lnTo>
                      <a:pt x="1780" y="702"/>
                    </a:lnTo>
                    <a:lnTo>
                      <a:pt x="1755" y="722"/>
                    </a:lnTo>
                    <a:lnTo>
                      <a:pt x="1743" y="722"/>
                    </a:lnTo>
                    <a:lnTo>
                      <a:pt x="1727" y="726"/>
                    </a:lnTo>
                    <a:lnTo>
                      <a:pt x="1719" y="726"/>
                    </a:lnTo>
                    <a:lnTo>
                      <a:pt x="1699" y="738"/>
                    </a:lnTo>
                    <a:lnTo>
                      <a:pt x="1691" y="750"/>
                    </a:lnTo>
                    <a:lnTo>
                      <a:pt x="1675" y="762"/>
                    </a:lnTo>
                    <a:lnTo>
                      <a:pt x="1646" y="762"/>
                    </a:lnTo>
                    <a:lnTo>
                      <a:pt x="1618" y="770"/>
                    </a:lnTo>
                    <a:lnTo>
                      <a:pt x="1602" y="778"/>
                    </a:lnTo>
                    <a:lnTo>
                      <a:pt x="1590" y="790"/>
                    </a:lnTo>
                    <a:lnTo>
                      <a:pt x="1586" y="802"/>
                    </a:lnTo>
                    <a:lnTo>
                      <a:pt x="1574" y="823"/>
                    </a:lnTo>
                    <a:lnTo>
                      <a:pt x="1566" y="831"/>
                    </a:lnTo>
                    <a:lnTo>
                      <a:pt x="1558" y="839"/>
                    </a:lnTo>
                    <a:lnTo>
                      <a:pt x="1533" y="839"/>
                    </a:lnTo>
                    <a:lnTo>
                      <a:pt x="1509" y="839"/>
                    </a:lnTo>
                    <a:lnTo>
                      <a:pt x="1489" y="851"/>
                    </a:lnTo>
                    <a:lnTo>
                      <a:pt x="1477" y="867"/>
                    </a:lnTo>
                    <a:lnTo>
                      <a:pt x="1477" y="871"/>
                    </a:lnTo>
                    <a:lnTo>
                      <a:pt x="1473" y="871"/>
                    </a:lnTo>
                    <a:lnTo>
                      <a:pt x="1457" y="891"/>
                    </a:lnTo>
                    <a:lnTo>
                      <a:pt x="1445" y="903"/>
                    </a:lnTo>
                    <a:lnTo>
                      <a:pt x="1437" y="903"/>
                    </a:lnTo>
                    <a:lnTo>
                      <a:pt x="1420" y="903"/>
                    </a:lnTo>
                    <a:lnTo>
                      <a:pt x="1412" y="895"/>
                    </a:lnTo>
                    <a:lnTo>
                      <a:pt x="1400" y="891"/>
                    </a:lnTo>
                    <a:lnTo>
                      <a:pt x="1380" y="891"/>
                    </a:lnTo>
                    <a:lnTo>
                      <a:pt x="1364" y="891"/>
                    </a:lnTo>
                    <a:lnTo>
                      <a:pt x="1360" y="883"/>
                    </a:lnTo>
                    <a:lnTo>
                      <a:pt x="1356" y="879"/>
                    </a:lnTo>
                    <a:lnTo>
                      <a:pt x="1348" y="867"/>
                    </a:lnTo>
                    <a:lnTo>
                      <a:pt x="1348" y="847"/>
                    </a:lnTo>
                    <a:lnTo>
                      <a:pt x="1344" y="843"/>
                    </a:lnTo>
                    <a:lnTo>
                      <a:pt x="1340" y="839"/>
                    </a:lnTo>
                    <a:lnTo>
                      <a:pt x="1279" y="823"/>
                    </a:lnTo>
                    <a:lnTo>
                      <a:pt x="1219" y="802"/>
                    </a:lnTo>
                    <a:lnTo>
                      <a:pt x="1207" y="802"/>
                    </a:lnTo>
                    <a:lnTo>
                      <a:pt x="1203" y="802"/>
                    </a:lnTo>
                    <a:lnTo>
                      <a:pt x="1195" y="811"/>
                    </a:lnTo>
                    <a:lnTo>
                      <a:pt x="1191" y="815"/>
                    </a:lnTo>
                    <a:lnTo>
                      <a:pt x="1186" y="827"/>
                    </a:lnTo>
                    <a:lnTo>
                      <a:pt x="1178" y="839"/>
                    </a:lnTo>
                    <a:lnTo>
                      <a:pt x="1178" y="843"/>
                    </a:lnTo>
                    <a:lnTo>
                      <a:pt x="1174" y="847"/>
                    </a:lnTo>
                    <a:lnTo>
                      <a:pt x="1150" y="859"/>
                    </a:lnTo>
                    <a:lnTo>
                      <a:pt x="1142" y="863"/>
                    </a:lnTo>
                    <a:lnTo>
                      <a:pt x="1126" y="867"/>
                    </a:lnTo>
                    <a:lnTo>
                      <a:pt x="1110" y="871"/>
                    </a:lnTo>
                    <a:lnTo>
                      <a:pt x="1106" y="875"/>
                    </a:lnTo>
                    <a:lnTo>
                      <a:pt x="1102" y="879"/>
                    </a:lnTo>
                    <a:lnTo>
                      <a:pt x="1102" y="928"/>
                    </a:lnTo>
                    <a:lnTo>
                      <a:pt x="1098" y="968"/>
                    </a:lnTo>
                    <a:lnTo>
                      <a:pt x="1090" y="980"/>
                    </a:lnTo>
                    <a:lnTo>
                      <a:pt x="1082" y="980"/>
                    </a:lnTo>
                    <a:lnTo>
                      <a:pt x="1057" y="992"/>
                    </a:lnTo>
                    <a:lnTo>
                      <a:pt x="1029" y="996"/>
                    </a:lnTo>
                    <a:lnTo>
                      <a:pt x="1013" y="1004"/>
                    </a:lnTo>
                    <a:lnTo>
                      <a:pt x="1001" y="1016"/>
                    </a:lnTo>
                    <a:lnTo>
                      <a:pt x="993" y="1016"/>
                    </a:lnTo>
                    <a:lnTo>
                      <a:pt x="989" y="1020"/>
                    </a:lnTo>
                    <a:lnTo>
                      <a:pt x="973" y="1016"/>
                    </a:lnTo>
                    <a:lnTo>
                      <a:pt x="961" y="1004"/>
                    </a:lnTo>
                    <a:lnTo>
                      <a:pt x="957" y="996"/>
                    </a:lnTo>
                    <a:lnTo>
                      <a:pt x="940" y="988"/>
                    </a:lnTo>
                    <a:lnTo>
                      <a:pt x="928" y="968"/>
                    </a:lnTo>
                    <a:lnTo>
                      <a:pt x="920" y="952"/>
                    </a:lnTo>
                    <a:lnTo>
                      <a:pt x="916" y="944"/>
                    </a:lnTo>
                    <a:lnTo>
                      <a:pt x="912" y="944"/>
                    </a:lnTo>
                    <a:lnTo>
                      <a:pt x="856" y="964"/>
                    </a:lnTo>
                    <a:lnTo>
                      <a:pt x="848" y="964"/>
                    </a:lnTo>
                    <a:lnTo>
                      <a:pt x="827" y="964"/>
                    </a:lnTo>
                    <a:lnTo>
                      <a:pt x="823" y="964"/>
                    </a:lnTo>
                    <a:lnTo>
                      <a:pt x="823" y="976"/>
                    </a:lnTo>
                    <a:lnTo>
                      <a:pt x="815" y="988"/>
                    </a:lnTo>
                    <a:lnTo>
                      <a:pt x="815" y="1020"/>
                    </a:lnTo>
                    <a:lnTo>
                      <a:pt x="815" y="1049"/>
                    </a:lnTo>
                    <a:lnTo>
                      <a:pt x="831" y="1061"/>
                    </a:lnTo>
                    <a:lnTo>
                      <a:pt x="848" y="1077"/>
                    </a:lnTo>
                    <a:lnTo>
                      <a:pt x="848" y="1085"/>
                    </a:lnTo>
                    <a:lnTo>
                      <a:pt x="848" y="1097"/>
                    </a:lnTo>
                    <a:lnTo>
                      <a:pt x="815" y="1129"/>
                    </a:lnTo>
                    <a:lnTo>
                      <a:pt x="783" y="1162"/>
                    </a:lnTo>
                    <a:lnTo>
                      <a:pt x="771" y="1166"/>
                    </a:lnTo>
                    <a:lnTo>
                      <a:pt x="763" y="1174"/>
                    </a:lnTo>
                    <a:lnTo>
                      <a:pt x="755" y="1170"/>
                    </a:lnTo>
                    <a:lnTo>
                      <a:pt x="751" y="117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 sz="800" b="1">
                  <a:cs typeface="+mn-cs"/>
                </a:endParaRPr>
              </a:p>
            </p:txBody>
          </p:sp>
          <p:grpSp>
            <p:nvGrpSpPr>
              <p:cNvPr id="50" name="Group 62"/>
              <p:cNvGrpSpPr>
                <a:grpSpLocks/>
              </p:cNvGrpSpPr>
              <p:nvPr/>
            </p:nvGrpSpPr>
            <p:grpSpPr bwMode="auto">
              <a:xfrm>
                <a:off x="7891722" y="2557232"/>
                <a:ext cx="1057294" cy="1188477"/>
                <a:chOff x="19880" y="4917"/>
                <a:chExt cx="2531" cy="2871"/>
              </a:xfrm>
              <a:solidFill>
                <a:srgbClr val="FFFF99"/>
              </a:solidFill>
              <a:effectLst/>
            </p:grpSpPr>
            <p:sp>
              <p:nvSpPr>
                <p:cNvPr id="99" name="Freeform 63"/>
                <p:cNvSpPr>
                  <a:spLocks/>
                </p:cNvSpPr>
                <p:nvPr/>
              </p:nvSpPr>
              <p:spPr bwMode="auto">
                <a:xfrm>
                  <a:off x="19880" y="5186"/>
                  <a:ext cx="2531" cy="2602"/>
                </a:xfrm>
                <a:custGeom>
                  <a:avLst/>
                  <a:gdLst/>
                  <a:ahLst/>
                  <a:cxnLst>
                    <a:cxn ang="0">
                      <a:pos x="609" y="1190"/>
                    </a:cxn>
                    <a:cxn ang="0">
                      <a:pos x="573" y="1170"/>
                    </a:cxn>
                    <a:cxn ang="0">
                      <a:pos x="544" y="1097"/>
                    </a:cxn>
                    <a:cxn ang="0">
                      <a:pos x="464" y="1077"/>
                    </a:cxn>
                    <a:cxn ang="0">
                      <a:pos x="411" y="1057"/>
                    </a:cxn>
                    <a:cxn ang="0">
                      <a:pos x="375" y="984"/>
                    </a:cxn>
                    <a:cxn ang="0">
                      <a:pos x="310" y="992"/>
                    </a:cxn>
                    <a:cxn ang="0">
                      <a:pos x="250" y="1041"/>
                    </a:cxn>
                    <a:cxn ang="0">
                      <a:pos x="198" y="1000"/>
                    </a:cxn>
                    <a:cxn ang="0">
                      <a:pos x="165" y="952"/>
                    </a:cxn>
                    <a:cxn ang="0">
                      <a:pos x="129" y="912"/>
                    </a:cxn>
                    <a:cxn ang="0">
                      <a:pos x="109" y="839"/>
                    </a:cxn>
                    <a:cxn ang="0">
                      <a:pos x="40" y="819"/>
                    </a:cxn>
                    <a:cxn ang="0">
                      <a:pos x="81" y="710"/>
                    </a:cxn>
                    <a:cxn ang="0">
                      <a:pos x="109" y="661"/>
                    </a:cxn>
                    <a:cxn ang="0">
                      <a:pos x="97" y="609"/>
                    </a:cxn>
                    <a:cxn ang="0">
                      <a:pos x="133" y="557"/>
                    </a:cxn>
                    <a:cxn ang="0">
                      <a:pos x="177" y="540"/>
                    </a:cxn>
                    <a:cxn ang="0">
                      <a:pos x="230" y="435"/>
                    </a:cxn>
                    <a:cxn ang="0">
                      <a:pos x="202" y="399"/>
                    </a:cxn>
                    <a:cxn ang="0">
                      <a:pos x="157" y="363"/>
                    </a:cxn>
                    <a:cxn ang="0">
                      <a:pos x="121" y="314"/>
                    </a:cxn>
                    <a:cxn ang="0">
                      <a:pos x="109" y="254"/>
                    </a:cxn>
                    <a:cxn ang="0">
                      <a:pos x="64" y="222"/>
                    </a:cxn>
                    <a:cxn ang="0">
                      <a:pos x="8" y="161"/>
                    </a:cxn>
                    <a:cxn ang="0">
                      <a:pos x="0" y="89"/>
                    </a:cxn>
                    <a:cxn ang="0">
                      <a:pos x="52" y="72"/>
                    </a:cxn>
                    <a:cxn ang="0">
                      <a:pos x="129" y="24"/>
                    </a:cxn>
                    <a:cxn ang="0">
                      <a:pos x="181" y="40"/>
                    </a:cxn>
                    <a:cxn ang="0">
                      <a:pos x="238" y="16"/>
                    </a:cxn>
                    <a:cxn ang="0">
                      <a:pos x="258" y="8"/>
                    </a:cxn>
                    <a:cxn ang="0">
                      <a:pos x="335" y="56"/>
                    </a:cxn>
                    <a:cxn ang="0">
                      <a:pos x="444" y="109"/>
                    </a:cxn>
                    <a:cxn ang="0">
                      <a:pos x="532" y="125"/>
                    </a:cxn>
                    <a:cxn ang="0">
                      <a:pos x="678" y="141"/>
                    </a:cxn>
                    <a:cxn ang="0">
                      <a:pos x="661" y="185"/>
                    </a:cxn>
                    <a:cxn ang="0">
                      <a:pos x="661" y="210"/>
                    </a:cxn>
                    <a:cxn ang="0">
                      <a:pos x="803" y="222"/>
                    </a:cxn>
                    <a:cxn ang="0">
                      <a:pos x="899" y="250"/>
                    </a:cxn>
                    <a:cxn ang="0">
                      <a:pos x="956" y="242"/>
                    </a:cxn>
                    <a:cxn ang="0">
                      <a:pos x="1000" y="278"/>
                    </a:cxn>
                    <a:cxn ang="0">
                      <a:pos x="1085" y="335"/>
                    </a:cxn>
                    <a:cxn ang="0">
                      <a:pos x="1162" y="387"/>
                    </a:cxn>
                    <a:cxn ang="0">
                      <a:pos x="1178" y="452"/>
                    </a:cxn>
                    <a:cxn ang="0">
                      <a:pos x="1109" y="544"/>
                    </a:cxn>
                    <a:cxn ang="0">
                      <a:pos x="1101" y="581"/>
                    </a:cxn>
                    <a:cxn ang="0">
                      <a:pos x="1041" y="617"/>
                    </a:cxn>
                    <a:cxn ang="0">
                      <a:pos x="960" y="742"/>
                    </a:cxn>
                    <a:cxn ang="0">
                      <a:pos x="916" y="791"/>
                    </a:cxn>
                    <a:cxn ang="0">
                      <a:pos x="883" y="827"/>
                    </a:cxn>
                    <a:cxn ang="0">
                      <a:pos x="851" y="883"/>
                    </a:cxn>
                    <a:cxn ang="0">
                      <a:pos x="855" y="928"/>
                    </a:cxn>
                    <a:cxn ang="0">
                      <a:pos x="791" y="1000"/>
                    </a:cxn>
                    <a:cxn ang="0">
                      <a:pos x="754" y="1049"/>
                    </a:cxn>
                    <a:cxn ang="0">
                      <a:pos x="734" y="1182"/>
                    </a:cxn>
                    <a:cxn ang="0">
                      <a:pos x="670" y="1202"/>
                    </a:cxn>
                  </a:cxnLst>
                  <a:rect l="0" t="0" r="r" b="b"/>
                  <a:pathLst>
                    <a:path w="1178" h="1210">
                      <a:moveTo>
                        <a:pt x="649" y="1210"/>
                      </a:moveTo>
                      <a:lnTo>
                        <a:pt x="645" y="1202"/>
                      </a:lnTo>
                      <a:lnTo>
                        <a:pt x="637" y="1198"/>
                      </a:lnTo>
                      <a:lnTo>
                        <a:pt x="625" y="1194"/>
                      </a:lnTo>
                      <a:lnTo>
                        <a:pt x="609" y="1190"/>
                      </a:lnTo>
                      <a:lnTo>
                        <a:pt x="609" y="1190"/>
                      </a:lnTo>
                      <a:lnTo>
                        <a:pt x="597" y="1190"/>
                      </a:lnTo>
                      <a:lnTo>
                        <a:pt x="589" y="1182"/>
                      </a:lnTo>
                      <a:lnTo>
                        <a:pt x="577" y="1182"/>
                      </a:lnTo>
                      <a:lnTo>
                        <a:pt x="573" y="1170"/>
                      </a:lnTo>
                      <a:lnTo>
                        <a:pt x="565" y="1162"/>
                      </a:lnTo>
                      <a:lnTo>
                        <a:pt x="565" y="1142"/>
                      </a:lnTo>
                      <a:lnTo>
                        <a:pt x="561" y="1121"/>
                      </a:lnTo>
                      <a:lnTo>
                        <a:pt x="557" y="1105"/>
                      </a:lnTo>
                      <a:lnTo>
                        <a:pt x="544" y="1097"/>
                      </a:lnTo>
                      <a:lnTo>
                        <a:pt x="532" y="1089"/>
                      </a:lnTo>
                      <a:lnTo>
                        <a:pt x="512" y="1077"/>
                      </a:lnTo>
                      <a:lnTo>
                        <a:pt x="496" y="1077"/>
                      </a:lnTo>
                      <a:lnTo>
                        <a:pt x="476" y="1073"/>
                      </a:lnTo>
                      <a:lnTo>
                        <a:pt x="464" y="1077"/>
                      </a:lnTo>
                      <a:lnTo>
                        <a:pt x="460" y="1081"/>
                      </a:lnTo>
                      <a:lnTo>
                        <a:pt x="448" y="1081"/>
                      </a:lnTo>
                      <a:lnTo>
                        <a:pt x="432" y="1081"/>
                      </a:lnTo>
                      <a:lnTo>
                        <a:pt x="415" y="1069"/>
                      </a:lnTo>
                      <a:lnTo>
                        <a:pt x="411" y="1057"/>
                      </a:lnTo>
                      <a:lnTo>
                        <a:pt x="403" y="1033"/>
                      </a:lnTo>
                      <a:lnTo>
                        <a:pt x="399" y="1004"/>
                      </a:lnTo>
                      <a:lnTo>
                        <a:pt x="391" y="996"/>
                      </a:lnTo>
                      <a:lnTo>
                        <a:pt x="379" y="988"/>
                      </a:lnTo>
                      <a:lnTo>
                        <a:pt x="375" y="984"/>
                      </a:lnTo>
                      <a:lnTo>
                        <a:pt x="367" y="984"/>
                      </a:lnTo>
                      <a:lnTo>
                        <a:pt x="343" y="984"/>
                      </a:lnTo>
                      <a:lnTo>
                        <a:pt x="319" y="984"/>
                      </a:lnTo>
                      <a:lnTo>
                        <a:pt x="315" y="988"/>
                      </a:lnTo>
                      <a:lnTo>
                        <a:pt x="310" y="992"/>
                      </a:lnTo>
                      <a:lnTo>
                        <a:pt x="302" y="1000"/>
                      </a:lnTo>
                      <a:lnTo>
                        <a:pt x="286" y="1008"/>
                      </a:lnTo>
                      <a:lnTo>
                        <a:pt x="274" y="1025"/>
                      </a:lnTo>
                      <a:lnTo>
                        <a:pt x="262" y="1037"/>
                      </a:lnTo>
                      <a:lnTo>
                        <a:pt x="250" y="1041"/>
                      </a:lnTo>
                      <a:lnTo>
                        <a:pt x="230" y="1041"/>
                      </a:lnTo>
                      <a:lnTo>
                        <a:pt x="222" y="1029"/>
                      </a:lnTo>
                      <a:lnTo>
                        <a:pt x="206" y="1004"/>
                      </a:lnTo>
                      <a:lnTo>
                        <a:pt x="202" y="1004"/>
                      </a:lnTo>
                      <a:lnTo>
                        <a:pt x="198" y="1000"/>
                      </a:lnTo>
                      <a:lnTo>
                        <a:pt x="189" y="984"/>
                      </a:lnTo>
                      <a:lnTo>
                        <a:pt x="177" y="964"/>
                      </a:lnTo>
                      <a:lnTo>
                        <a:pt x="173" y="960"/>
                      </a:lnTo>
                      <a:lnTo>
                        <a:pt x="169" y="956"/>
                      </a:lnTo>
                      <a:lnTo>
                        <a:pt x="165" y="952"/>
                      </a:lnTo>
                      <a:lnTo>
                        <a:pt x="157" y="948"/>
                      </a:lnTo>
                      <a:lnTo>
                        <a:pt x="145" y="940"/>
                      </a:lnTo>
                      <a:lnTo>
                        <a:pt x="133" y="936"/>
                      </a:lnTo>
                      <a:lnTo>
                        <a:pt x="129" y="924"/>
                      </a:lnTo>
                      <a:lnTo>
                        <a:pt x="129" y="912"/>
                      </a:lnTo>
                      <a:lnTo>
                        <a:pt x="121" y="891"/>
                      </a:lnTo>
                      <a:lnTo>
                        <a:pt x="117" y="879"/>
                      </a:lnTo>
                      <a:lnTo>
                        <a:pt x="113" y="863"/>
                      </a:lnTo>
                      <a:lnTo>
                        <a:pt x="113" y="843"/>
                      </a:lnTo>
                      <a:lnTo>
                        <a:pt x="109" y="839"/>
                      </a:lnTo>
                      <a:lnTo>
                        <a:pt x="97" y="835"/>
                      </a:lnTo>
                      <a:lnTo>
                        <a:pt x="64" y="835"/>
                      </a:lnTo>
                      <a:lnTo>
                        <a:pt x="32" y="835"/>
                      </a:lnTo>
                      <a:lnTo>
                        <a:pt x="40" y="827"/>
                      </a:lnTo>
                      <a:lnTo>
                        <a:pt x="40" y="819"/>
                      </a:lnTo>
                      <a:lnTo>
                        <a:pt x="44" y="811"/>
                      </a:lnTo>
                      <a:lnTo>
                        <a:pt x="48" y="803"/>
                      </a:lnTo>
                      <a:lnTo>
                        <a:pt x="56" y="770"/>
                      </a:lnTo>
                      <a:lnTo>
                        <a:pt x="68" y="730"/>
                      </a:lnTo>
                      <a:lnTo>
                        <a:pt x="81" y="710"/>
                      </a:lnTo>
                      <a:lnTo>
                        <a:pt x="93" y="694"/>
                      </a:lnTo>
                      <a:lnTo>
                        <a:pt x="93" y="686"/>
                      </a:lnTo>
                      <a:lnTo>
                        <a:pt x="97" y="686"/>
                      </a:lnTo>
                      <a:lnTo>
                        <a:pt x="105" y="674"/>
                      </a:lnTo>
                      <a:lnTo>
                        <a:pt x="109" y="661"/>
                      </a:lnTo>
                      <a:lnTo>
                        <a:pt x="105" y="645"/>
                      </a:lnTo>
                      <a:lnTo>
                        <a:pt x="105" y="633"/>
                      </a:lnTo>
                      <a:lnTo>
                        <a:pt x="105" y="629"/>
                      </a:lnTo>
                      <a:lnTo>
                        <a:pt x="97" y="629"/>
                      </a:lnTo>
                      <a:lnTo>
                        <a:pt x="97" y="609"/>
                      </a:lnTo>
                      <a:lnTo>
                        <a:pt x="105" y="597"/>
                      </a:lnTo>
                      <a:lnTo>
                        <a:pt x="109" y="589"/>
                      </a:lnTo>
                      <a:lnTo>
                        <a:pt x="113" y="581"/>
                      </a:lnTo>
                      <a:lnTo>
                        <a:pt x="129" y="573"/>
                      </a:lnTo>
                      <a:lnTo>
                        <a:pt x="133" y="557"/>
                      </a:lnTo>
                      <a:lnTo>
                        <a:pt x="141" y="557"/>
                      </a:lnTo>
                      <a:lnTo>
                        <a:pt x="149" y="557"/>
                      </a:lnTo>
                      <a:lnTo>
                        <a:pt x="157" y="548"/>
                      </a:lnTo>
                      <a:lnTo>
                        <a:pt x="161" y="544"/>
                      </a:lnTo>
                      <a:lnTo>
                        <a:pt x="177" y="540"/>
                      </a:lnTo>
                      <a:lnTo>
                        <a:pt x="198" y="540"/>
                      </a:lnTo>
                      <a:lnTo>
                        <a:pt x="210" y="528"/>
                      </a:lnTo>
                      <a:lnTo>
                        <a:pt x="230" y="520"/>
                      </a:lnTo>
                      <a:lnTo>
                        <a:pt x="230" y="476"/>
                      </a:lnTo>
                      <a:lnTo>
                        <a:pt x="230" y="435"/>
                      </a:lnTo>
                      <a:lnTo>
                        <a:pt x="222" y="423"/>
                      </a:lnTo>
                      <a:lnTo>
                        <a:pt x="210" y="415"/>
                      </a:lnTo>
                      <a:lnTo>
                        <a:pt x="210" y="411"/>
                      </a:lnTo>
                      <a:lnTo>
                        <a:pt x="206" y="403"/>
                      </a:lnTo>
                      <a:lnTo>
                        <a:pt x="202" y="399"/>
                      </a:lnTo>
                      <a:lnTo>
                        <a:pt x="193" y="387"/>
                      </a:lnTo>
                      <a:lnTo>
                        <a:pt x="189" y="387"/>
                      </a:lnTo>
                      <a:lnTo>
                        <a:pt x="177" y="387"/>
                      </a:lnTo>
                      <a:lnTo>
                        <a:pt x="165" y="375"/>
                      </a:lnTo>
                      <a:lnTo>
                        <a:pt x="157" y="363"/>
                      </a:lnTo>
                      <a:lnTo>
                        <a:pt x="149" y="351"/>
                      </a:lnTo>
                      <a:lnTo>
                        <a:pt x="145" y="343"/>
                      </a:lnTo>
                      <a:lnTo>
                        <a:pt x="133" y="335"/>
                      </a:lnTo>
                      <a:lnTo>
                        <a:pt x="121" y="323"/>
                      </a:lnTo>
                      <a:lnTo>
                        <a:pt x="121" y="314"/>
                      </a:lnTo>
                      <a:lnTo>
                        <a:pt x="121" y="306"/>
                      </a:lnTo>
                      <a:lnTo>
                        <a:pt x="129" y="302"/>
                      </a:lnTo>
                      <a:lnTo>
                        <a:pt x="129" y="290"/>
                      </a:lnTo>
                      <a:lnTo>
                        <a:pt x="129" y="270"/>
                      </a:lnTo>
                      <a:lnTo>
                        <a:pt x="109" y="254"/>
                      </a:lnTo>
                      <a:lnTo>
                        <a:pt x="93" y="234"/>
                      </a:lnTo>
                      <a:lnTo>
                        <a:pt x="85" y="234"/>
                      </a:lnTo>
                      <a:lnTo>
                        <a:pt x="68" y="234"/>
                      </a:lnTo>
                      <a:lnTo>
                        <a:pt x="64" y="230"/>
                      </a:lnTo>
                      <a:lnTo>
                        <a:pt x="64" y="222"/>
                      </a:lnTo>
                      <a:lnTo>
                        <a:pt x="48" y="222"/>
                      </a:lnTo>
                      <a:lnTo>
                        <a:pt x="28" y="218"/>
                      </a:lnTo>
                      <a:lnTo>
                        <a:pt x="20" y="210"/>
                      </a:lnTo>
                      <a:lnTo>
                        <a:pt x="16" y="193"/>
                      </a:lnTo>
                      <a:lnTo>
                        <a:pt x="8" y="161"/>
                      </a:lnTo>
                      <a:lnTo>
                        <a:pt x="8" y="133"/>
                      </a:lnTo>
                      <a:lnTo>
                        <a:pt x="4" y="121"/>
                      </a:lnTo>
                      <a:lnTo>
                        <a:pt x="0" y="109"/>
                      </a:lnTo>
                      <a:lnTo>
                        <a:pt x="0" y="97"/>
                      </a:lnTo>
                      <a:lnTo>
                        <a:pt x="0" y="89"/>
                      </a:lnTo>
                      <a:lnTo>
                        <a:pt x="4" y="84"/>
                      </a:lnTo>
                      <a:lnTo>
                        <a:pt x="8" y="80"/>
                      </a:lnTo>
                      <a:lnTo>
                        <a:pt x="24" y="80"/>
                      </a:lnTo>
                      <a:lnTo>
                        <a:pt x="32" y="76"/>
                      </a:lnTo>
                      <a:lnTo>
                        <a:pt x="52" y="72"/>
                      </a:lnTo>
                      <a:lnTo>
                        <a:pt x="64" y="60"/>
                      </a:lnTo>
                      <a:lnTo>
                        <a:pt x="93" y="44"/>
                      </a:lnTo>
                      <a:lnTo>
                        <a:pt x="117" y="24"/>
                      </a:lnTo>
                      <a:lnTo>
                        <a:pt x="129" y="24"/>
                      </a:lnTo>
                      <a:lnTo>
                        <a:pt x="129" y="24"/>
                      </a:lnTo>
                      <a:lnTo>
                        <a:pt x="141" y="28"/>
                      </a:lnTo>
                      <a:lnTo>
                        <a:pt x="145" y="36"/>
                      </a:lnTo>
                      <a:lnTo>
                        <a:pt x="149" y="36"/>
                      </a:lnTo>
                      <a:lnTo>
                        <a:pt x="161" y="40"/>
                      </a:lnTo>
                      <a:lnTo>
                        <a:pt x="181" y="40"/>
                      </a:lnTo>
                      <a:lnTo>
                        <a:pt x="210" y="40"/>
                      </a:lnTo>
                      <a:lnTo>
                        <a:pt x="218" y="36"/>
                      </a:lnTo>
                      <a:lnTo>
                        <a:pt x="222" y="36"/>
                      </a:lnTo>
                      <a:lnTo>
                        <a:pt x="226" y="28"/>
                      </a:lnTo>
                      <a:lnTo>
                        <a:pt x="238" y="16"/>
                      </a:lnTo>
                      <a:lnTo>
                        <a:pt x="242" y="8"/>
                      </a:lnTo>
                      <a:lnTo>
                        <a:pt x="246" y="0"/>
                      </a:lnTo>
                      <a:lnTo>
                        <a:pt x="250" y="0"/>
                      </a:lnTo>
                      <a:lnTo>
                        <a:pt x="254" y="0"/>
                      </a:lnTo>
                      <a:lnTo>
                        <a:pt x="258" y="8"/>
                      </a:lnTo>
                      <a:lnTo>
                        <a:pt x="262" y="28"/>
                      </a:lnTo>
                      <a:lnTo>
                        <a:pt x="274" y="36"/>
                      </a:lnTo>
                      <a:lnTo>
                        <a:pt x="290" y="48"/>
                      </a:lnTo>
                      <a:lnTo>
                        <a:pt x="310" y="52"/>
                      </a:lnTo>
                      <a:lnTo>
                        <a:pt x="335" y="56"/>
                      </a:lnTo>
                      <a:lnTo>
                        <a:pt x="387" y="60"/>
                      </a:lnTo>
                      <a:lnTo>
                        <a:pt x="399" y="64"/>
                      </a:lnTo>
                      <a:lnTo>
                        <a:pt x="411" y="84"/>
                      </a:lnTo>
                      <a:lnTo>
                        <a:pt x="423" y="101"/>
                      </a:lnTo>
                      <a:lnTo>
                        <a:pt x="444" y="109"/>
                      </a:lnTo>
                      <a:lnTo>
                        <a:pt x="460" y="125"/>
                      </a:lnTo>
                      <a:lnTo>
                        <a:pt x="480" y="129"/>
                      </a:lnTo>
                      <a:lnTo>
                        <a:pt x="520" y="129"/>
                      </a:lnTo>
                      <a:lnTo>
                        <a:pt x="528" y="125"/>
                      </a:lnTo>
                      <a:lnTo>
                        <a:pt x="532" y="125"/>
                      </a:lnTo>
                      <a:lnTo>
                        <a:pt x="540" y="125"/>
                      </a:lnTo>
                      <a:lnTo>
                        <a:pt x="565" y="133"/>
                      </a:lnTo>
                      <a:lnTo>
                        <a:pt x="589" y="141"/>
                      </a:lnTo>
                      <a:lnTo>
                        <a:pt x="661" y="137"/>
                      </a:lnTo>
                      <a:lnTo>
                        <a:pt x="678" y="141"/>
                      </a:lnTo>
                      <a:lnTo>
                        <a:pt x="678" y="145"/>
                      </a:lnTo>
                      <a:lnTo>
                        <a:pt x="682" y="157"/>
                      </a:lnTo>
                      <a:lnTo>
                        <a:pt x="674" y="169"/>
                      </a:lnTo>
                      <a:lnTo>
                        <a:pt x="661" y="181"/>
                      </a:lnTo>
                      <a:lnTo>
                        <a:pt x="661" y="185"/>
                      </a:lnTo>
                      <a:lnTo>
                        <a:pt x="657" y="185"/>
                      </a:lnTo>
                      <a:lnTo>
                        <a:pt x="657" y="193"/>
                      </a:lnTo>
                      <a:lnTo>
                        <a:pt x="653" y="197"/>
                      </a:lnTo>
                      <a:lnTo>
                        <a:pt x="657" y="206"/>
                      </a:lnTo>
                      <a:lnTo>
                        <a:pt x="661" y="210"/>
                      </a:lnTo>
                      <a:lnTo>
                        <a:pt x="710" y="210"/>
                      </a:lnTo>
                      <a:lnTo>
                        <a:pt x="738" y="214"/>
                      </a:lnTo>
                      <a:lnTo>
                        <a:pt x="750" y="214"/>
                      </a:lnTo>
                      <a:lnTo>
                        <a:pt x="762" y="218"/>
                      </a:lnTo>
                      <a:lnTo>
                        <a:pt x="803" y="222"/>
                      </a:lnTo>
                      <a:lnTo>
                        <a:pt x="851" y="222"/>
                      </a:lnTo>
                      <a:lnTo>
                        <a:pt x="867" y="234"/>
                      </a:lnTo>
                      <a:lnTo>
                        <a:pt x="867" y="234"/>
                      </a:lnTo>
                      <a:lnTo>
                        <a:pt x="883" y="246"/>
                      </a:lnTo>
                      <a:lnTo>
                        <a:pt x="899" y="250"/>
                      </a:lnTo>
                      <a:lnTo>
                        <a:pt x="904" y="250"/>
                      </a:lnTo>
                      <a:lnTo>
                        <a:pt x="908" y="250"/>
                      </a:lnTo>
                      <a:lnTo>
                        <a:pt x="916" y="250"/>
                      </a:lnTo>
                      <a:lnTo>
                        <a:pt x="928" y="246"/>
                      </a:lnTo>
                      <a:lnTo>
                        <a:pt x="956" y="242"/>
                      </a:lnTo>
                      <a:lnTo>
                        <a:pt x="976" y="242"/>
                      </a:lnTo>
                      <a:lnTo>
                        <a:pt x="988" y="250"/>
                      </a:lnTo>
                      <a:lnTo>
                        <a:pt x="996" y="258"/>
                      </a:lnTo>
                      <a:lnTo>
                        <a:pt x="996" y="270"/>
                      </a:lnTo>
                      <a:lnTo>
                        <a:pt x="1000" y="278"/>
                      </a:lnTo>
                      <a:lnTo>
                        <a:pt x="1008" y="282"/>
                      </a:lnTo>
                      <a:lnTo>
                        <a:pt x="1012" y="290"/>
                      </a:lnTo>
                      <a:lnTo>
                        <a:pt x="1041" y="302"/>
                      </a:lnTo>
                      <a:lnTo>
                        <a:pt x="1069" y="323"/>
                      </a:lnTo>
                      <a:lnTo>
                        <a:pt x="1085" y="335"/>
                      </a:lnTo>
                      <a:lnTo>
                        <a:pt x="1097" y="351"/>
                      </a:lnTo>
                      <a:lnTo>
                        <a:pt x="1125" y="355"/>
                      </a:lnTo>
                      <a:lnTo>
                        <a:pt x="1142" y="363"/>
                      </a:lnTo>
                      <a:lnTo>
                        <a:pt x="1154" y="379"/>
                      </a:lnTo>
                      <a:lnTo>
                        <a:pt x="1162" y="387"/>
                      </a:lnTo>
                      <a:lnTo>
                        <a:pt x="1162" y="391"/>
                      </a:lnTo>
                      <a:lnTo>
                        <a:pt x="1166" y="391"/>
                      </a:lnTo>
                      <a:lnTo>
                        <a:pt x="1174" y="427"/>
                      </a:lnTo>
                      <a:lnTo>
                        <a:pt x="1178" y="435"/>
                      </a:lnTo>
                      <a:lnTo>
                        <a:pt x="1178" y="452"/>
                      </a:lnTo>
                      <a:lnTo>
                        <a:pt x="1178" y="464"/>
                      </a:lnTo>
                      <a:lnTo>
                        <a:pt x="1166" y="484"/>
                      </a:lnTo>
                      <a:lnTo>
                        <a:pt x="1154" y="488"/>
                      </a:lnTo>
                      <a:lnTo>
                        <a:pt x="1121" y="532"/>
                      </a:lnTo>
                      <a:lnTo>
                        <a:pt x="1109" y="544"/>
                      </a:lnTo>
                      <a:lnTo>
                        <a:pt x="1109" y="548"/>
                      </a:lnTo>
                      <a:lnTo>
                        <a:pt x="1105" y="557"/>
                      </a:lnTo>
                      <a:lnTo>
                        <a:pt x="1105" y="561"/>
                      </a:lnTo>
                      <a:lnTo>
                        <a:pt x="1101" y="561"/>
                      </a:lnTo>
                      <a:lnTo>
                        <a:pt x="1101" y="581"/>
                      </a:lnTo>
                      <a:lnTo>
                        <a:pt x="1097" y="593"/>
                      </a:lnTo>
                      <a:lnTo>
                        <a:pt x="1089" y="597"/>
                      </a:lnTo>
                      <a:lnTo>
                        <a:pt x="1089" y="601"/>
                      </a:lnTo>
                      <a:lnTo>
                        <a:pt x="1069" y="605"/>
                      </a:lnTo>
                      <a:lnTo>
                        <a:pt x="1041" y="617"/>
                      </a:lnTo>
                      <a:lnTo>
                        <a:pt x="1025" y="633"/>
                      </a:lnTo>
                      <a:lnTo>
                        <a:pt x="1012" y="657"/>
                      </a:lnTo>
                      <a:lnTo>
                        <a:pt x="988" y="698"/>
                      </a:lnTo>
                      <a:lnTo>
                        <a:pt x="972" y="722"/>
                      </a:lnTo>
                      <a:lnTo>
                        <a:pt x="960" y="742"/>
                      </a:lnTo>
                      <a:lnTo>
                        <a:pt x="948" y="754"/>
                      </a:lnTo>
                      <a:lnTo>
                        <a:pt x="936" y="770"/>
                      </a:lnTo>
                      <a:lnTo>
                        <a:pt x="920" y="778"/>
                      </a:lnTo>
                      <a:lnTo>
                        <a:pt x="916" y="786"/>
                      </a:lnTo>
                      <a:lnTo>
                        <a:pt x="916" y="791"/>
                      </a:lnTo>
                      <a:lnTo>
                        <a:pt x="904" y="803"/>
                      </a:lnTo>
                      <a:lnTo>
                        <a:pt x="895" y="811"/>
                      </a:lnTo>
                      <a:lnTo>
                        <a:pt x="891" y="819"/>
                      </a:lnTo>
                      <a:lnTo>
                        <a:pt x="891" y="823"/>
                      </a:lnTo>
                      <a:lnTo>
                        <a:pt x="883" y="827"/>
                      </a:lnTo>
                      <a:lnTo>
                        <a:pt x="875" y="831"/>
                      </a:lnTo>
                      <a:lnTo>
                        <a:pt x="867" y="835"/>
                      </a:lnTo>
                      <a:lnTo>
                        <a:pt x="863" y="843"/>
                      </a:lnTo>
                      <a:lnTo>
                        <a:pt x="855" y="871"/>
                      </a:lnTo>
                      <a:lnTo>
                        <a:pt x="851" y="883"/>
                      </a:lnTo>
                      <a:lnTo>
                        <a:pt x="851" y="891"/>
                      </a:lnTo>
                      <a:lnTo>
                        <a:pt x="851" y="903"/>
                      </a:lnTo>
                      <a:lnTo>
                        <a:pt x="851" y="912"/>
                      </a:lnTo>
                      <a:lnTo>
                        <a:pt x="855" y="916"/>
                      </a:lnTo>
                      <a:lnTo>
                        <a:pt x="855" y="928"/>
                      </a:lnTo>
                      <a:lnTo>
                        <a:pt x="855" y="940"/>
                      </a:lnTo>
                      <a:lnTo>
                        <a:pt x="827" y="960"/>
                      </a:lnTo>
                      <a:lnTo>
                        <a:pt x="799" y="976"/>
                      </a:lnTo>
                      <a:lnTo>
                        <a:pt x="795" y="988"/>
                      </a:lnTo>
                      <a:lnTo>
                        <a:pt x="791" y="1000"/>
                      </a:lnTo>
                      <a:lnTo>
                        <a:pt x="787" y="1000"/>
                      </a:lnTo>
                      <a:lnTo>
                        <a:pt x="774" y="1004"/>
                      </a:lnTo>
                      <a:lnTo>
                        <a:pt x="766" y="1025"/>
                      </a:lnTo>
                      <a:lnTo>
                        <a:pt x="758" y="1045"/>
                      </a:lnTo>
                      <a:lnTo>
                        <a:pt x="754" y="1049"/>
                      </a:lnTo>
                      <a:lnTo>
                        <a:pt x="754" y="1093"/>
                      </a:lnTo>
                      <a:lnTo>
                        <a:pt x="754" y="1142"/>
                      </a:lnTo>
                      <a:lnTo>
                        <a:pt x="742" y="1158"/>
                      </a:lnTo>
                      <a:lnTo>
                        <a:pt x="738" y="1182"/>
                      </a:lnTo>
                      <a:lnTo>
                        <a:pt x="734" y="1182"/>
                      </a:lnTo>
                      <a:lnTo>
                        <a:pt x="726" y="1190"/>
                      </a:lnTo>
                      <a:lnTo>
                        <a:pt x="710" y="1194"/>
                      </a:lnTo>
                      <a:lnTo>
                        <a:pt x="686" y="1194"/>
                      </a:lnTo>
                      <a:lnTo>
                        <a:pt x="678" y="1198"/>
                      </a:lnTo>
                      <a:lnTo>
                        <a:pt x="670" y="1202"/>
                      </a:lnTo>
                      <a:lnTo>
                        <a:pt x="670" y="1206"/>
                      </a:lnTo>
                      <a:lnTo>
                        <a:pt x="661" y="1210"/>
                      </a:lnTo>
                      <a:lnTo>
                        <a:pt x="657" y="1210"/>
                      </a:lnTo>
                      <a:lnTo>
                        <a:pt x="649" y="121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800" b="1">
                    <a:cs typeface="+mn-cs"/>
                  </a:endParaRPr>
                </a:p>
              </p:txBody>
            </p:sp>
            <p:grpSp>
              <p:nvGrpSpPr>
                <p:cNvPr id="100" name="Group 64"/>
                <p:cNvGrpSpPr>
                  <a:grpSpLocks/>
                </p:cNvGrpSpPr>
                <p:nvPr/>
              </p:nvGrpSpPr>
              <p:grpSpPr bwMode="auto">
                <a:xfrm>
                  <a:off x="20729" y="4917"/>
                  <a:ext cx="651" cy="269"/>
                  <a:chOff x="20729" y="4917"/>
                  <a:chExt cx="651" cy="269"/>
                </a:xfrm>
                <a:grpFill/>
              </p:grpSpPr>
              <p:sp>
                <p:nvSpPr>
                  <p:cNvPr id="101" name="Freeform 65"/>
                  <p:cNvSpPr>
                    <a:spLocks/>
                  </p:cNvSpPr>
                  <p:nvPr/>
                </p:nvSpPr>
                <p:spPr bwMode="auto">
                  <a:xfrm>
                    <a:off x="21111" y="5038"/>
                    <a:ext cx="269" cy="148"/>
                  </a:xfrm>
                  <a:custGeom>
                    <a:avLst/>
                    <a:gdLst/>
                    <a:ahLst/>
                    <a:cxnLst>
                      <a:cxn ang="0">
                        <a:pos x="121" y="69"/>
                      </a:cxn>
                      <a:cxn ang="0">
                        <a:pos x="101" y="57"/>
                      </a:cxn>
                      <a:cxn ang="0">
                        <a:pos x="80" y="45"/>
                      </a:cxn>
                      <a:cxn ang="0">
                        <a:pos x="44" y="32"/>
                      </a:cxn>
                      <a:cxn ang="0">
                        <a:pos x="16" y="28"/>
                      </a:cxn>
                      <a:cxn ang="0">
                        <a:pos x="8" y="16"/>
                      </a:cxn>
                      <a:cxn ang="0">
                        <a:pos x="0" y="8"/>
                      </a:cxn>
                      <a:cxn ang="0">
                        <a:pos x="0" y="0"/>
                      </a:cxn>
                      <a:cxn ang="0">
                        <a:pos x="4" y="0"/>
                      </a:cxn>
                      <a:cxn ang="0">
                        <a:pos x="16" y="0"/>
                      </a:cxn>
                      <a:cxn ang="0">
                        <a:pos x="24" y="0"/>
                      </a:cxn>
                      <a:cxn ang="0">
                        <a:pos x="36" y="0"/>
                      </a:cxn>
                      <a:cxn ang="0">
                        <a:pos x="56" y="8"/>
                      </a:cxn>
                      <a:cxn ang="0">
                        <a:pos x="64" y="8"/>
                      </a:cxn>
                      <a:cxn ang="0">
                        <a:pos x="68" y="16"/>
                      </a:cxn>
                      <a:cxn ang="0">
                        <a:pos x="97" y="28"/>
                      </a:cxn>
                      <a:cxn ang="0">
                        <a:pos x="113" y="32"/>
                      </a:cxn>
                      <a:cxn ang="0">
                        <a:pos x="113" y="45"/>
                      </a:cxn>
                      <a:cxn ang="0">
                        <a:pos x="117" y="45"/>
                      </a:cxn>
                      <a:cxn ang="0">
                        <a:pos x="121" y="49"/>
                      </a:cxn>
                      <a:cxn ang="0">
                        <a:pos x="125" y="61"/>
                      </a:cxn>
                      <a:cxn ang="0">
                        <a:pos x="125" y="65"/>
                      </a:cxn>
                      <a:cxn ang="0">
                        <a:pos x="125" y="69"/>
                      </a:cxn>
                      <a:cxn ang="0">
                        <a:pos x="121" y="69"/>
                      </a:cxn>
                    </a:cxnLst>
                    <a:rect l="0" t="0" r="r" b="b"/>
                    <a:pathLst>
                      <a:path w="125" h="69">
                        <a:moveTo>
                          <a:pt x="121" y="69"/>
                        </a:moveTo>
                        <a:lnTo>
                          <a:pt x="101" y="57"/>
                        </a:lnTo>
                        <a:lnTo>
                          <a:pt x="80" y="45"/>
                        </a:lnTo>
                        <a:lnTo>
                          <a:pt x="44" y="32"/>
                        </a:lnTo>
                        <a:lnTo>
                          <a:pt x="16" y="28"/>
                        </a:lnTo>
                        <a:lnTo>
                          <a:pt x="8" y="16"/>
                        </a:lnTo>
                        <a:lnTo>
                          <a:pt x="0" y="8"/>
                        </a:lnTo>
                        <a:lnTo>
                          <a:pt x="0" y="0"/>
                        </a:lnTo>
                        <a:lnTo>
                          <a:pt x="4" y="0"/>
                        </a:lnTo>
                        <a:lnTo>
                          <a:pt x="16" y="0"/>
                        </a:lnTo>
                        <a:lnTo>
                          <a:pt x="24" y="0"/>
                        </a:lnTo>
                        <a:lnTo>
                          <a:pt x="36" y="0"/>
                        </a:lnTo>
                        <a:lnTo>
                          <a:pt x="56" y="8"/>
                        </a:lnTo>
                        <a:lnTo>
                          <a:pt x="64" y="8"/>
                        </a:lnTo>
                        <a:lnTo>
                          <a:pt x="68" y="16"/>
                        </a:lnTo>
                        <a:lnTo>
                          <a:pt x="97" y="28"/>
                        </a:lnTo>
                        <a:lnTo>
                          <a:pt x="113" y="32"/>
                        </a:lnTo>
                        <a:lnTo>
                          <a:pt x="113" y="45"/>
                        </a:lnTo>
                        <a:lnTo>
                          <a:pt x="117" y="45"/>
                        </a:lnTo>
                        <a:lnTo>
                          <a:pt x="121" y="49"/>
                        </a:lnTo>
                        <a:lnTo>
                          <a:pt x="125" y="61"/>
                        </a:lnTo>
                        <a:lnTo>
                          <a:pt x="125" y="65"/>
                        </a:lnTo>
                        <a:lnTo>
                          <a:pt x="125" y="69"/>
                        </a:lnTo>
                        <a:lnTo>
                          <a:pt x="121" y="69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>
                    <a:defPPr>
                      <a:defRPr lang="ru-RU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800" b="1">
                      <a:cs typeface="+mn-cs"/>
                    </a:endParaRPr>
                  </a:p>
                </p:txBody>
              </p:sp>
              <p:sp>
                <p:nvSpPr>
                  <p:cNvPr id="102" name="Freeform 66"/>
                  <p:cNvSpPr>
                    <a:spLocks/>
                  </p:cNvSpPr>
                  <p:nvPr/>
                </p:nvSpPr>
                <p:spPr bwMode="auto">
                  <a:xfrm>
                    <a:off x="20729" y="4917"/>
                    <a:ext cx="268" cy="218"/>
                  </a:xfrm>
                  <a:custGeom>
                    <a:avLst/>
                    <a:gdLst/>
                    <a:ahLst/>
                    <a:cxnLst>
                      <a:cxn ang="0">
                        <a:pos x="69" y="101"/>
                      </a:cxn>
                      <a:cxn ang="0">
                        <a:pos x="45" y="68"/>
                      </a:cxn>
                      <a:cxn ang="0">
                        <a:pos x="16" y="36"/>
                      </a:cxn>
                      <a:cxn ang="0">
                        <a:pos x="8" y="36"/>
                      </a:cxn>
                      <a:cxn ang="0">
                        <a:pos x="0" y="36"/>
                      </a:cxn>
                      <a:cxn ang="0">
                        <a:pos x="0" y="28"/>
                      </a:cxn>
                      <a:cxn ang="0">
                        <a:pos x="0" y="20"/>
                      </a:cxn>
                      <a:cxn ang="0">
                        <a:pos x="8" y="12"/>
                      </a:cxn>
                      <a:cxn ang="0">
                        <a:pos x="20" y="0"/>
                      </a:cxn>
                      <a:cxn ang="0">
                        <a:pos x="37" y="0"/>
                      </a:cxn>
                      <a:cxn ang="0">
                        <a:pos x="57" y="0"/>
                      </a:cxn>
                      <a:cxn ang="0">
                        <a:pos x="69" y="12"/>
                      </a:cxn>
                      <a:cxn ang="0">
                        <a:pos x="117" y="36"/>
                      </a:cxn>
                      <a:cxn ang="0">
                        <a:pos x="121" y="40"/>
                      </a:cxn>
                      <a:cxn ang="0">
                        <a:pos x="125" y="44"/>
                      </a:cxn>
                      <a:cxn ang="0">
                        <a:pos x="109" y="56"/>
                      </a:cxn>
                      <a:cxn ang="0">
                        <a:pos x="97" y="68"/>
                      </a:cxn>
                      <a:cxn ang="0">
                        <a:pos x="97" y="76"/>
                      </a:cxn>
                      <a:cxn ang="0">
                        <a:pos x="89" y="84"/>
                      </a:cxn>
                      <a:cxn ang="0">
                        <a:pos x="85" y="92"/>
                      </a:cxn>
                      <a:cxn ang="0">
                        <a:pos x="73" y="101"/>
                      </a:cxn>
                      <a:cxn ang="0">
                        <a:pos x="69" y="101"/>
                      </a:cxn>
                    </a:cxnLst>
                    <a:rect l="0" t="0" r="r" b="b"/>
                    <a:pathLst>
                      <a:path w="125" h="101">
                        <a:moveTo>
                          <a:pt x="69" y="101"/>
                        </a:moveTo>
                        <a:lnTo>
                          <a:pt x="45" y="68"/>
                        </a:lnTo>
                        <a:lnTo>
                          <a:pt x="16" y="36"/>
                        </a:lnTo>
                        <a:lnTo>
                          <a:pt x="8" y="36"/>
                        </a:lnTo>
                        <a:lnTo>
                          <a:pt x="0" y="36"/>
                        </a:lnTo>
                        <a:lnTo>
                          <a:pt x="0" y="28"/>
                        </a:lnTo>
                        <a:lnTo>
                          <a:pt x="0" y="20"/>
                        </a:lnTo>
                        <a:lnTo>
                          <a:pt x="8" y="12"/>
                        </a:lnTo>
                        <a:lnTo>
                          <a:pt x="20" y="0"/>
                        </a:lnTo>
                        <a:lnTo>
                          <a:pt x="37" y="0"/>
                        </a:lnTo>
                        <a:lnTo>
                          <a:pt x="57" y="0"/>
                        </a:lnTo>
                        <a:lnTo>
                          <a:pt x="69" y="12"/>
                        </a:lnTo>
                        <a:lnTo>
                          <a:pt x="117" y="36"/>
                        </a:lnTo>
                        <a:lnTo>
                          <a:pt x="121" y="40"/>
                        </a:lnTo>
                        <a:lnTo>
                          <a:pt x="125" y="44"/>
                        </a:lnTo>
                        <a:lnTo>
                          <a:pt x="109" y="56"/>
                        </a:lnTo>
                        <a:lnTo>
                          <a:pt x="97" y="68"/>
                        </a:lnTo>
                        <a:lnTo>
                          <a:pt x="97" y="76"/>
                        </a:lnTo>
                        <a:lnTo>
                          <a:pt x="89" y="84"/>
                        </a:lnTo>
                        <a:lnTo>
                          <a:pt x="85" y="92"/>
                        </a:lnTo>
                        <a:lnTo>
                          <a:pt x="73" y="101"/>
                        </a:lnTo>
                        <a:lnTo>
                          <a:pt x="69" y="101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>
                    <a:defPPr>
                      <a:defRPr lang="ru-RU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800" b="1">
                      <a:cs typeface="+mn-cs"/>
                    </a:endParaRPr>
                  </a:p>
                </p:txBody>
              </p:sp>
            </p:grpSp>
          </p:grpSp>
          <p:sp>
            <p:nvSpPr>
              <p:cNvPr id="51" name="Freeform 67"/>
              <p:cNvSpPr>
                <a:spLocks/>
              </p:cNvSpPr>
              <p:nvPr/>
            </p:nvSpPr>
            <p:spPr bwMode="auto">
              <a:xfrm>
                <a:off x="3162386" y="1337176"/>
                <a:ext cx="892176" cy="1292248"/>
              </a:xfrm>
              <a:custGeom>
                <a:avLst/>
                <a:gdLst>
                  <a:gd name="T0" fmla="*/ 397160745 w 993"/>
                  <a:gd name="T1" fmla="*/ 1084273325 h 1452"/>
                  <a:gd name="T2" fmla="*/ 335810926 w 993"/>
                  <a:gd name="T3" fmla="*/ 1050863934 h 1452"/>
                  <a:gd name="T4" fmla="*/ 263967047 w 993"/>
                  <a:gd name="T5" fmla="*/ 1072124614 h 1452"/>
                  <a:gd name="T6" fmla="*/ 238135308 w 993"/>
                  <a:gd name="T7" fmla="*/ 1047827192 h 1452"/>
                  <a:gd name="T8" fmla="*/ 212303512 w 993"/>
                  <a:gd name="T9" fmla="*/ 974175959 h 1452"/>
                  <a:gd name="T10" fmla="*/ 198580373 w 993"/>
                  <a:gd name="T11" fmla="*/ 930895631 h 1452"/>
                  <a:gd name="T12" fmla="*/ 198580373 w 993"/>
                  <a:gd name="T13" fmla="*/ 829909145 h 1452"/>
                  <a:gd name="T14" fmla="*/ 182435873 w 993"/>
                  <a:gd name="T15" fmla="*/ 766128848 h 1452"/>
                  <a:gd name="T16" fmla="*/ 124315133 w 993"/>
                  <a:gd name="T17" fmla="*/ 781314301 h 1452"/>
                  <a:gd name="T18" fmla="*/ 52470313 w 993"/>
                  <a:gd name="T19" fmla="*/ 728922876 h 1452"/>
                  <a:gd name="T20" fmla="*/ 33096733 w 993"/>
                  <a:gd name="T21" fmla="*/ 738034845 h 1452"/>
                  <a:gd name="T22" fmla="*/ 91217487 w 993"/>
                  <a:gd name="T23" fmla="*/ 670457095 h 1452"/>
                  <a:gd name="T24" fmla="*/ 52470313 w 993"/>
                  <a:gd name="T25" fmla="*/ 627936607 h 1452"/>
                  <a:gd name="T26" fmla="*/ 0 w 993"/>
                  <a:gd name="T27" fmla="*/ 627936607 h 1452"/>
                  <a:gd name="T28" fmla="*/ 121086053 w 993"/>
                  <a:gd name="T29" fmla="*/ 578582795 h 1452"/>
                  <a:gd name="T30" fmla="*/ 166291372 w 993"/>
                  <a:gd name="T31" fmla="*/ 551248631 h 1452"/>
                  <a:gd name="T32" fmla="*/ 146917793 w 993"/>
                  <a:gd name="T33" fmla="*/ 511764885 h 1452"/>
                  <a:gd name="T34" fmla="*/ 117856974 w 993"/>
                  <a:gd name="T35" fmla="*/ 447224640 h 1452"/>
                  <a:gd name="T36" fmla="*/ 127543314 w 993"/>
                  <a:gd name="T37" fmla="*/ 358387082 h 1452"/>
                  <a:gd name="T38" fmla="*/ 94446567 w 993"/>
                  <a:gd name="T39" fmla="*/ 318144368 h 1452"/>
                  <a:gd name="T40" fmla="*/ 68614827 w 993"/>
                  <a:gd name="T41" fmla="*/ 245252103 h 1452"/>
                  <a:gd name="T42" fmla="*/ 52470313 w 993"/>
                  <a:gd name="T43" fmla="*/ 144265779 h 1452"/>
                  <a:gd name="T44" fmla="*/ 49241234 w 993"/>
                  <a:gd name="T45" fmla="*/ 76688874 h 1452"/>
                  <a:gd name="T46" fmla="*/ 75072987 w 993"/>
                  <a:gd name="T47" fmla="*/ 36446147 h 1452"/>
                  <a:gd name="T48" fmla="*/ 143688713 w 993"/>
                  <a:gd name="T49" fmla="*/ 9111972 h 1452"/>
                  <a:gd name="T50" fmla="*/ 228448012 w 993"/>
                  <a:gd name="T51" fmla="*/ 0 h 1452"/>
                  <a:gd name="T52" fmla="*/ 293027866 w 993"/>
                  <a:gd name="T53" fmla="*/ 67576905 h 1452"/>
                  <a:gd name="T54" fmla="*/ 247822547 w 993"/>
                  <a:gd name="T55" fmla="*/ 82763230 h 1452"/>
                  <a:gd name="T56" fmla="*/ 241364387 w 993"/>
                  <a:gd name="T57" fmla="*/ 125283745 h 1452"/>
                  <a:gd name="T58" fmla="*/ 280111547 w 993"/>
                  <a:gd name="T59" fmla="*/ 147303393 h 1452"/>
                  <a:gd name="T60" fmla="*/ 342269086 w 993"/>
                  <a:gd name="T61" fmla="*/ 189823881 h 1452"/>
                  <a:gd name="T62" fmla="*/ 414112965 w 993"/>
                  <a:gd name="T63" fmla="*/ 134394843 h 1452"/>
                  <a:gd name="T64" fmla="*/ 430258363 w 993"/>
                  <a:gd name="T65" fmla="*/ 82763230 h 1452"/>
                  <a:gd name="T66" fmla="*/ 465776443 w 993"/>
                  <a:gd name="T67" fmla="*/ 79725616 h 1452"/>
                  <a:gd name="T68" fmla="*/ 452861023 w 993"/>
                  <a:gd name="T69" fmla="*/ 116171776 h 1452"/>
                  <a:gd name="T70" fmla="*/ 446402864 w 993"/>
                  <a:gd name="T71" fmla="*/ 162488846 h 1452"/>
                  <a:gd name="T72" fmla="*/ 475463795 w 993"/>
                  <a:gd name="T73" fmla="*/ 180711912 h 1452"/>
                  <a:gd name="T74" fmla="*/ 550536754 w 993"/>
                  <a:gd name="T75" fmla="*/ 144265779 h 1452"/>
                  <a:gd name="T76" fmla="*/ 553765833 w 993"/>
                  <a:gd name="T77" fmla="*/ 217158045 h 1452"/>
                  <a:gd name="T78" fmla="*/ 521475935 w 993"/>
                  <a:gd name="T79" fmla="*/ 281698236 h 1452"/>
                  <a:gd name="T80" fmla="*/ 456089204 w 993"/>
                  <a:gd name="T81" fmla="*/ 312070013 h 1452"/>
                  <a:gd name="T82" fmla="*/ 423800204 w 993"/>
                  <a:gd name="T83" fmla="*/ 373573407 h 1452"/>
                  <a:gd name="T84" fmla="*/ 481921056 w 993"/>
                  <a:gd name="T85" fmla="*/ 385722118 h 1452"/>
                  <a:gd name="T86" fmla="*/ 531163174 w 993"/>
                  <a:gd name="T87" fmla="*/ 441150285 h 1452"/>
                  <a:gd name="T88" fmla="*/ 632067872 w 993"/>
                  <a:gd name="T89" fmla="*/ 474559785 h 1452"/>
                  <a:gd name="T90" fmla="*/ 657898713 w 993"/>
                  <a:gd name="T91" fmla="*/ 526950338 h 1452"/>
                  <a:gd name="T92" fmla="*/ 729743490 w 993"/>
                  <a:gd name="T93" fmla="*/ 551248631 h 1452"/>
                  <a:gd name="T94" fmla="*/ 768490650 w 993"/>
                  <a:gd name="T95" fmla="*/ 588453732 h 1452"/>
                  <a:gd name="T96" fmla="*/ 788671949 w 993"/>
                  <a:gd name="T97" fmla="*/ 649197287 h 1452"/>
                  <a:gd name="T98" fmla="*/ 791900130 w 993"/>
                  <a:gd name="T99" fmla="*/ 704625454 h 1452"/>
                  <a:gd name="T100" fmla="*/ 749117070 w 993"/>
                  <a:gd name="T101" fmla="*/ 719811778 h 1452"/>
                  <a:gd name="T102" fmla="*/ 661127793 w 993"/>
                  <a:gd name="T103" fmla="*/ 734997231 h 1452"/>
                  <a:gd name="T104" fmla="*/ 667585952 w 993"/>
                  <a:gd name="T105" fmla="*/ 784351914 h 1452"/>
                  <a:gd name="T106" fmla="*/ 651441452 w 993"/>
                  <a:gd name="T107" fmla="*/ 851169824 h 1452"/>
                  <a:gd name="T108" fmla="*/ 612693394 w 993"/>
                  <a:gd name="T109" fmla="*/ 879263828 h 1452"/>
                  <a:gd name="T110" fmla="*/ 566681254 w 993"/>
                  <a:gd name="T111" fmla="*/ 912672347 h 1452"/>
                  <a:gd name="T112" fmla="*/ 566681254 w 993"/>
                  <a:gd name="T113" fmla="*/ 946840923 h 1452"/>
                  <a:gd name="T114" fmla="*/ 544078594 w 993"/>
                  <a:gd name="T115" fmla="*/ 986324670 h 1452"/>
                  <a:gd name="T116" fmla="*/ 494837375 w 993"/>
                  <a:gd name="T117" fmla="*/ 1013658834 h 1452"/>
                  <a:gd name="T118" fmla="*/ 472234715 w 993"/>
                  <a:gd name="T119" fmla="*/ 1066050259 h 1452"/>
                  <a:gd name="T120" fmla="*/ 423800204 w 993"/>
                  <a:gd name="T121" fmla="*/ 1102496392 h 145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993"/>
                  <a:gd name="T184" fmla="*/ 0 h 1452"/>
                  <a:gd name="T185" fmla="*/ 993 w 993"/>
                  <a:gd name="T186" fmla="*/ 1452 h 145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993" h="1452">
                    <a:moveTo>
                      <a:pt x="509" y="1452"/>
                    </a:moveTo>
                    <a:lnTo>
                      <a:pt x="505" y="1448"/>
                    </a:lnTo>
                    <a:lnTo>
                      <a:pt x="501" y="1440"/>
                    </a:lnTo>
                    <a:lnTo>
                      <a:pt x="497" y="1440"/>
                    </a:lnTo>
                    <a:lnTo>
                      <a:pt x="492" y="1436"/>
                    </a:lnTo>
                    <a:lnTo>
                      <a:pt x="492" y="1428"/>
                    </a:lnTo>
                    <a:lnTo>
                      <a:pt x="488" y="1416"/>
                    </a:lnTo>
                    <a:lnTo>
                      <a:pt x="476" y="1412"/>
                    </a:lnTo>
                    <a:lnTo>
                      <a:pt x="460" y="1400"/>
                    </a:lnTo>
                    <a:lnTo>
                      <a:pt x="452" y="1392"/>
                    </a:lnTo>
                    <a:lnTo>
                      <a:pt x="444" y="1384"/>
                    </a:lnTo>
                    <a:lnTo>
                      <a:pt x="416" y="1384"/>
                    </a:lnTo>
                    <a:lnTo>
                      <a:pt x="384" y="1384"/>
                    </a:lnTo>
                    <a:lnTo>
                      <a:pt x="363" y="1400"/>
                    </a:lnTo>
                    <a:lnTo>
                      <a:pt x="351" y="1408"/>
                    </a:lnTo>
                    <a:lnTo>
                      <a:pt x="343" y="1412"/>
                    </a:lnTo>
                    <a:lnTo>
                      <a:pt x="331" y="1412"/>
                    </a:lnTo>
                    <a:lnTo>
                      <a:pt x="327" y="1412"/>
                    </a:lnTo>
                    <a:lnTo>
                      <a:pt x="315" y="1408"/>
                    </a:lnTo>
                    <a:lnTo>
                      <a:pt x="315" y="1404"/>
                    </a:lnTo>
                    <a:lnTo>
                      <a:pt x="307" y="1404"/>
                    </a:lnTo>
                    <a:lnTo>
                      <a:pt x="299" y="1400"/>
                    </a:lnTo>
                    <a:lnTo>
                      <a:pt x="299" y="1388"/>
                    </a:lnTo>
                    <a:lnTo>
                      <a:pt x="295" y="1380"/>
                    </a:lnTo>
                    <a:lnTo>
                      <a:pt x="287" y="1368"/>
                    </a:lnTo>
                    <a:lnTo>
                      <a:pt x="287" y="1360"/>
                    </a:lnTo>
                    <a:lnTo>
                      <a:pt x="283" y="1355"/>
                    </a:lnTo>
                    <a:lnTo>
                      <a:pt x="271" y="1347"/>
                    </a:lnTo>
                    <a:lnTo>
                      <a:pt x="267" y="1315"/>
                    </a:lnTo>
                    <a:lnTo>
                      <a:pt x="263" y="1283"/>
                    </a:lnTo>
                    <a:lnTo>
                      <a:pt x="258" y="1283"/>
                    </a:lnTo>
                    <a:lnTo>
                      <a:pt x="250" y="1263"/>
                    </a:lnTo>
                    <a:lnTo>
                      <a:pt x="250" y="1259"/>
                    </a:lnTo>
                    <a:lnTo>
                      <a:pt x="250" y="1247"/>
                    </a:lnTo>
                    <a:lnTo>
                      <a:pt x="250" y="1234"/>
                    </a:lnTo>
                    <a:lnTo>
                      <a:pt x="246" y="1226"/>
                    </a:lnTo>
                    <a:lnTo>
                      <a:pt x="246" y="1206"/>
                    </a:lnTo>
                    <a:lnTo>
                      <a:pt x="246" y="1190"/>
                    </a:lnTo>
                    <a:lnTo>
                      <a:pt x="242" y="1170"/>
                    </a:lnTo>
                    <a:lnTo>
                      <a:pt x="242" y="1150"/>
                    </a:lnTo>
                    <a:lnTo>
                      <a:pt x="242" y="1105"/>
                    </a:lnTo>
                    <a:lnTo>
                      <a:pt x="246" y="1093"/>
                    </a:lnTo>
                    <a:lnTo>
                      <a:pt x="246" y="1065"/>
                    </a:lnTo>
                    <a:lnTo>
                      <a:pt x="246" y="1045"/>
                    </a:lnTo>
                    <a:lnTo>
                      <a:pt x="242" y="1033"/>
                    </a:lnTo>
                    <a:lnTo>
                      <a:pt x="234" y="1017"/>
                    </a:lnTo>
                    <a:lnTo>
                      <a:pt x="230" y="1013"/>
                    </a:lnTo>
                    <a:lnTo>
                      <a:pt x="226" y="1009"/>
                    </a:lnTo>
                    <a:lnTo>
                      <a:pt x="218" y="1009"/>
                    </a:lnTo>
                    <a:lnTo>
                      <a:pt x="214" y="1009"/>
                    </a:lnTo>
                    <a:lnTo>
                      <a:pt x="198" y="1021"/>
                    </a:lnTo>
                    <a:lnTo>
                      <a:pt x="190" y="1029"/>
                    </a:lnTo>
                    <a:lnTo>
                      <a:pt x="170" y="1029"/>
                    </a:lnTo>
                    <a:lnTo>
                      <a:pt x="154" y="1029"/>
                    </a:lnTo>
                    <a:lnTo>
                      <a:pt x="142" y="992"/>
                    </a:lnTo>
                    <a:lnTo>
                      <a:pt x="121" y="960"/>
                    </a:lnTo>
                    <a:lnTo>
                      <a:pt x="89" y="956"/>
                    </a:lnTo>
                    <a:lnTo>
                      <a:pt x="73" y="952"/>
                    </a:lnTo>
                    <a:lnTo>
                      <a:pt x="69" y="956"/>
                    </a:lnTo>
                    <a:lnTo>
                      <a:pt x="65" y="960"/>
                    </a:lnTo>
                    <a:lnTo>
                      <a:pt x="61" y="984"/>
                    </a:lnTo>
                    <a:lnTo>
                      <a:pt x="57" y="992"/>
                    </a:lnTo>
                    <a:lnTo>
                      <a:pt x="53" y="988"/>
                    </a:lnTo>
                    <a:lnTo>
                      <a:pt x="49" y="988"/>
                    </a:lnTo>
                    <a:lnTo>
                      <a:pt x="49" y="980"/>
                    </a:lnTo>
                    <a:lnTo>
                      <a:pt x="41" y="972"/>
                    </a:lnTo>
                    <a:lnTo>
                      <a:pt x="41" y="956"/>
                    </a:lnTo>
                    <a:lnTo>
                      <a:pt x="49" y="944"/>
                    </a:lnTo>
                    <a:lnTo>
                      <a:pt x="65" y="932"/>
                    </a:lnTo>
                    <a:lnTo>
                      <a:pt x="85" y="912"/>
                    </a:lnTo>
                    <a:lnTo>
                      <a:pt x="97" y="900"/>
                    </a:lnTo>
                    <a:lnTo>
                      <a:pt x="113" y="883"/>
                    </a:lnTo>
                    <a:lnTo>
                      <a:pt x="113" y="863"/>
                    </a:lnTo>
                    <a:lnTo>
                      <a:pt x="113" y="851"/>
                    </a:lnTo>
                    <a:lnTo>
                      <a:pt x="97" y="839"/>
                    </a:lnTo>
                    <a:lnTo>
                      <a:pt x="89" y="827"/>
                    </a:lnTo>
                    <a:lnTo>
                      <a:pt x="81" y="827"/>
                    </a:lnTo>
                    <a:lnTo>
                      <a:pt x="65" y="827"/>
                    </a:lnTo>
                    <a:lnTo>
                      <a:pt x="49" y="835"/>
                    </a:lnTo>
                    <a:lnTo>
                      <a:pt x="33" y="839"/>
                    </a:lnTo>
                    <a:lnTo>
                      <a:pt x="20" y="839"/>
                    </a:lnTo>
                    <a:lnTo>
                      <a:pt x="12" y="839"/>
                    </a:lnTo>
                    <a:lnTo>
                      <a:pt x="8" y="835"/>
                    </a:lnTo>
                    <a:lnTo>
                      <a:pt x="0" y="827"/>
                    </a:lnTo>
                    <a:lnTo>
                      <a:pt x="0" y="819"/>
                    </a:lnTo>
                    <a:lnTo>
                      <a:pt x="0" y="807"/>
                    </a:lnTo>
                    <a:lnTo>
                      <a:pt x="37" y="795"/>
                    </a:lnTo>
                    <a:lnTo>
                      <a:pt x="73" y="775"/>
                    </a:lnTo>
                    <a:lnTo>
                      <a:pt x="113" y="770"/>
                    </a:lnTo>
                    <a:lnTo>
                      <a:pt x="150" y="762"/>
                    </a:lnTo>
                    <a:lnTo>
                      <a:pt x="154" y="758"/>
                    </a:lnTo>
                    <a:lnTo>
                      <a:pt x="158" y="754"/>
                    </a:lnTo>
                    <a:lnTo>
                      <a:pt x="178" y="750"/>
                    </a:lnTo>
                    <a:lnTo>
                      <a:pt x="198" y="742"/>
                    </a:lnTo>
                    <a:lnTo>
                      <a:pt x="206" y="734"/>
                    </a:lnTo>
                    <a:lnTo>
                      <a:pt x="206" y="726"/>
                    </a:lnTo>
                    <a:lnTo>
                      <a:pt x="206" y="714"/>
                    </a:lnTo>
                    <a:lnTo>
                      <a:pt x="206" y="702"/>
                    </a:lnTo>
                    <a:lnTo>
                      <a:pt x="206" y="694"/>
                    </a:lnTo>
                    <a:lnTo>
                      <a:pt x="202" y="686"/>
                    </a:lnTo>
                    <a:lnTo>
                      <a:pt x="194" y="678"/>
                    </a:lnTo>
                    <a:lnTo>
                      <a:pt x="182" y="674"/>
                    </a:lnTo>
                    <a:lnTo>
                      <a:pt x="182" y="645"/>
                    </a:lnTo>
                    <a:lnTo>
                      <a:pt x="178" y="625"/>
                    </a:lnTo>
                    <a:lnTo>
                      <a:pt x="178" y="609"/>
                    </a:lnTo>
                    <a:lnTo>
                      <a:pt x="166" y="597"/>
                    </a:lnTo>
                    <a:lnTo>
                      <a:pt x="154" y="593"/>
                    </a:lnTo>
                    <a:lnTo>
                      <a:pt x="146" y="589"/>
                    </a:lnTo>
                    <a:lnTo>
                      <a:pt x="142" y="581"/>
                    </a:lnTo>
                    <a:lnTo>
                      <a:pt x="142" y="557"/>
                    </a:lnTo>
                    <a:lnTo>
                      <a:pt x="150" y="541"/>
                    </a:lnTo>
                    <a:lnTo>
                      <a:pt x="158" y="520"/>
                    </a:lnTo>
                    <a:lnTo>
                      <a:pt x="158" y="500"/>
                    </a:lnTo>
                    <a:lnTo>
                      <a:pt x="158" y="472"/>
                    </a:lnTo>
                    <a:lnTo>
                      <a:pt x="154" y="468"/>
                    </a:lnTo>
                    <a:lnTo>
                      <a:pt x="150" y="456"/>
                    </a:lnTo>
                    <a:lnTo>
                      <a:pt x="146" y="448"/>
                    </a:lnTo>
                    <a:lnTo>
                      <a:pt x="137" y="444"/>
                    </a:lnTo>
                    <a:lnTo>
                      <a:pt x="129" y="432"/>
                    </a:lnTo>
                    <a:lnTo>
                      <a:pt x="117" y="419"/>
                    </a:lnTo>
                    <a:lnTo>
                      <a:pt x="113" y="399"/>
                    </a:lnTo>
                    <a:lnTo>
                      <a:pt x="101" y="383"/>
                    </a:lnTo>
                    <a:lnTo>
                      <a:pt x="97" y="359"/>
                    </a:lnTo>
                    <a:lnTo>
                      <a:pt x="93" y="339"/>
                    </a:lnTo>
                    <a:lnTo>
                      <a:pt x="89" y="335"/>
                    </a:lnTo>
                    <a:lnTo>
                      <a:pt x="85" y="323"/>
                    </a:lnTo>
                    <a:lnTo>
                      <a:pt x="85" y="311"/>
                    </a:lnTo>
                    <a:lnTo>
                      <a:pt x="81" y="302"/>
                    </a:lnTo>
                    <a:lnTo>
                      <a:pt x="81" y="298"/>
                    </a:lnTo>
                    <a:lnTo>
                      <a:pt x="73" y="294"/>
                    </a:lnTo>
                    <a:lnTo>
                      <a:pt x="69" y="226"/>
                    </a:lnTo>
                    <a:lnTo>
                      <a:pt x="65" y="190"/>
                    </a:lnTo>
                    <a:lnTo>
                      <a:pt x="69" y="181"/>
                    </a:lnTo>
                    <a:lnTo>
                      <a:pt x="69" y="177"/>
                    </a:lnTo>
                    <a:lnTo>
                      <a:pt x="69" y="145"/>
                    </a:lnTo>
                    <a:lnTo>
                      <a:pt x="69" y="109"/>
                    </a:lnTo>
                    <a:lnTo>
                      <a:pt x="65" y="105"/>
                    </a:lnTo>
                    <a:lnTo>
                      <a:pt x="61" y="101"/>
                    </a:lnTo>
                    <a:lnTo>
                      <a:pt x="61" y="93"/>
                    </a:lnTo>
                    <a:lnTo>
                      <a:pt x="61" y="85"/>
                    </a:lnTo>
                    <a:lnTo>
                      <a:pt x="69" y="68"/>
                    </a:lnTo>
                    <a:lnTo>
                      <a:pt x="81" y="52"/>
                    </a:lnTo>
                    <a:lnTo>
                      <a:pt x="85" y="52"/>
                    </a:lnTo>
                    <a:lnTo>
                      <a:pt x="93" y="48"/>
                    </a:lnTo>
                    <a:lnTo>
                      <a:pt x="97" y="40"/>
                    </a:lnTo>
                    <a:lnTo>
                      <a:pt x="101" y="24"/>
                    </a:lnTo>
                    <a:lnTo>
                      <a:pt x="133" y="16"/>
                    </a:lnTo>
                    <a:lnTo>
                      <a:pt x="150" y="12"/>
                    </a:lnTo>
                    <a:lnTo>
                      <a:pt x="166" y="12"/>
                    </a:lnTo>
                    <a:lnTo>
                      <a:pt x="178" y="12"/>
                    </a:lnTo>
                    <a:lnTo>
                      <a:pt x="182" y="12"/>
                    </a:lnTo>
                    <a:lnTo>
                      <a:pt x="190" y="12"/>
                    </a:lnTo>
                    <a:lnTo>
                      <a:pt x="218" y="12"/>
                    </a:lnTo>
                    <a:lnTo>
                      <a:pt x="254" y="12"/>
                    </a:lnTo>
                    <a:lnTo>
                      <a:pt x="267" y="4"/>
                    </a:lnTo>
                    <a:lnTo>
                      <a:pt x="283" y="0"/>
                    </a:lnTo>
                    <a:lnTo>
                      <a:pt x="299" y="0"/>
                    </a:lnTo>
                    <a:lnTo>
                      <a:pt x="319" y="4"/>
                    </a:lnTo>
                    <a:lnTo>
                      <a:pt x="347" y="52"/>
                    </a:lnTo>
                    <a:lnTo>
                      <a:pt x="359" y="60"/>
                    </a:lnTo>
                    <a:lnTo>
                      <a:pt x="359" y="73"/>
                    </a:lnTo>
                    <a:lnTo>
                      <a:pt x="363" y="89"/>
                    </a:lnTo>
                    <a:lnTo>
                      <a:pt x="359" y="93"/>
                    </a:lnTo>
                    <a:lnTo>
                      <a:pt x="351" y="97"/>
                    </a:lnTo>
                    <a:lnTo>
                      <a:pt x="335" y="101"/>
                    </a:lnTo>
                    <a:lnTo>
                      <a:pt x="315" y="101"/>
                    </a:lnTo>
                    <a:lnTo>
                      <a:pt x="311" y="105"/>
                    </a:lnTo>
                    <a:lnTo>
                      <a:pt x="307" y="109"/>
                    </a:lnTo>
                    <a:lnTo>
                      <a:pt x="299" y="117"/>
                    </a:lnTo>
                    <a:lnTo>
                      <a:pt x="299" y="121"/>
                    </a:lnTo>
                    <a:lnTo>
                      <a:pt x="299" y="129"/>
                    </a:lnTo>
                    <a:lnTo>
                      <a:pt x="299" y="133"/>
                    </a:lnTo>
                    <a:lnTo>
                      <a:pt x="299" y="165"/>
                    </a:lnTo>
                    <a:lnTo>
                      <a:pt x="299" y="169"/>
                    </a:lnTo>
                    <a:lnTo>
                      <a:pt x="307" y="169"/>
                    </a:lnTo>
                    <a:lnTo>
                      <a:pt x="315" y="181"/>
                    </a:lnTo>
                    <a:lnTo>
                      <a:pt x="327" y="190"/>
                    </a:lnTo>
                    <a:lnTo>
                      <a:pt x="339" y="190"/>
                    </a:lnTo>
                    <a:lnTo>
                      <a:pt x="347" y="194"/>
                    </a:lnTo>
                    <a:lnTo>
                      <a:pt x="359" y="206"/>
                    </a:lnTo>
                    <a:lnTo>
                      <a:pt x="371" y="238"/>
                    </a:lnTo>
                    <a:lnTo>
                      <a:pt x="384" y="246"/>
                    </a:lnTo>
                    <a:lnTo>
                      <a:pt x="392" y="250"/>
                    </a:lnTo>
                    <a:lnTo>
                      <a:pt x="412" y="250"/>
                    </a:lnTo>
                    <a:lnTo>
                      <a:pt x="424" y="250"/>
                    </a:lnTo>
                    <a:lnTo>
                      <a:pt x="440" y="242"/>
                    </a:lnTo>
                    <a:lnTo>
                      <a:pt x="448" y="238"/>
                    </a:lnTo>
                    <a:lnTo>
                      <a:pt x="460" y="226"/>
                    </a:lnTo>
                    <a:lnTo>
                      <a:pt x="476" y="218"/>
                    </a:lnTo>
                    <a:lnTo>
                      <a:pt x="497" y="202"/>
                    </a:lnTo>
                    <a:lnTo>
                      <a:pt x="513" y="177"/>
                    </a:lnTo>
                    <a:lnTo>
                      <a:pt x="517" y="177"/>
                    </a:lnTo>
                    <a:lnTo>
                      <a:pt x="529" y="169"/>
                    </a:lnTo>
                    <a:lnTo>
                      <a:pt x="533" y="165"/>
                    </a:lnTo>
                    <a:lnTo>
                      <a:pt x="533" y="137"/>
                    </a:lnTo>
                    <a:lnTo>
                      <a:pt x="533" y="109"/>
                    </a:lnTo>
                    <a:lnTo>
                      <a:pt x="537" y="105"/>
                    </a:lnTo>
                    <a:lnTo>
                      <a:pt x="541" y="97"/>
                    </a:lnTo>
                    <a:lnTo>
                      <a:pt x="557" y="97"/>
                    </a:lnTo>
                    <a:lnTo>
                      <a:pt x="565" y="97"/>
                    </a:lnTo>
                    <a:lnTo>
                      <a:pt x="569" y="101"/>
                    </a:lnTo>
                    <a:lnTo>
                      <a:pt x="577" y="105"/>
                    </a:lnTo>
                    <a:lnTo>
                      <a:pt x="577" y="117"/>
                    </a:lnTo>
                    <a:lnTo>
                      <a:pt x="577" y="129"/>
                    </a:lnTo>
                    <a:lnTo>
                      <a:pt x="569" y="129"/>
                    </a:lnTo>
                    <a:lnTo>
                      <a:pt x="569" y="133"/>
                    </a:lnTo>
                    <a:lnTo>
                      <a:pt x="565" y="141"/>
                    </a:lnTo>
                    <a:lnTo>
                      <a:pt x="561" y="153"/>
                    </a:lnTo>
                    <a:lnTo>
                      <a:pt x="557" y="153"/>
                    </a:lnTo>
                    <a:lnTo>
                      <a:pt x="553" y="165"/>
                    </a:lnTo>
                    <a:lnTo>
                      <a:pt x="545" y="169"/>
                    </a:lnTo>
                    <a:lnTo>
                      <a:pt x="545" y="194"/>
                    </a:lnTo>
                    <a:lnTo>
                      <a:pt x="553" y="214"/>
                    </a:lnTo>
                    <a:lnTo>
                      <a:pt x="553" y="222"/>
                    </a:lnTo>
                    <a:lnTo>
                      <a:pt x="557" y="226"/>
                    </a:lnTo>
                    <a:lnTo>
                      <a:pt x="565" y="230"/>
                    </a:lnTo>
                    <a:lnTo>
                      <a:pt x="569" y="238"/>
                    </a:lnTo>
                    <a:lnTo>
                      <a:pt x="581" y="238"/>
                    </a:lnTo>
                    <a:lnTo>
                      <a:pt x="589" y="238"/>
                    </a:lnTo>
                    <a:lnTo>
                      <a:pt x="618" y="218"/>
                    </a:lnTo>
                    <a:lnTo>
                      <a:pt x="642" y="206"/>
                    </a:lnTo>
                    <a:lnTo>
                      <a:pt x="646" y="194"/>
                    </a:lnTo>
                    <a:lnTo>
                      <a:pt x="650" y="190"/>
                    </a:lnTo>
                    <a:lnTo>
                      <a:pt x="666" y="190"/>
                    </a:lnTo>
                    <a:lnTo>
                      <a:pt x="682" y="190"/>
                    </a:lnTo>
                    <a:lnTo>
                      <a:pt x="682" y="214"/>
                    </a:lnTo>
                    <a:lnTo>
                      <a:pt x="682" y="242"/>
                    </a:lnTo>
                    <a:lnTo>
                      <a:pt x="682" y="250"/>
                    </a:lnTo>
                    <a:lnTo>
                      <a:pt x="686" y="254"/>
                    </a:lnTo>
                    <a:lnTo>
                      <a:pt x="686" y="270"/>
                    </a:lnTo>
                    <a:lnTo>
                      <a:pt x="686" y="286"/>
                    </a:lnTo>
                    <a:lnTo>
                      <a:pt x="670" y="294"/>
                    </a:lnTo>
                    <a:lnTo>
                      <a:pt x="654" y="298"/>
                    </a:lnTo>
                    <a:lnTo>
                      <a:pt x="650" y="307"/>
                    </a:lnTo>
                    <a:lnTo>
                      <a:pt x="646" y="311"/>
                    </a:lnTo>
                    <a:lnTo>
                      <a:pt x="646" y="323"/>
                    </a:lnTo>
                    <a:lnTo>
                      <a:pt x="646" y="371"/>
                    </a:lnTo>
                    <a:lnTo>
                      <a:pt x="642" y="379"/>
                    </a:lnTo>
                    <a:lnTo>
                      <a:pt x="638" y="391"/>
                    </a:lnTo>
                    <a:lnTo>
                      <a:pt x="630" y="395"/>
                    </a:lnTo>
                    <a:lnTo>
                      <a:pt x="618" y="407"/>
                    </a:lnTo>
                    <a:lnTo>
                      <a:pt x="593" y="407"/>
                    </a:lnTo>
                    <a:lnTo>
                      <a:pt x="565" y="411"/>
                    </a:lnTo>
                    <a:lnTo>
                      <a:pt x="557" y="419"/>
                    </a:lnTo>
                    <a:lnTo>
                      <a:pt x="545" y="424"/>
                    </a:lnTo>
                    <a:lnTo>
                      <a:pt x="537" y="436"/>
                    </a:lnTo>
                    <a:lnTo>
                      <a:pt x="525" y="448"/>
                    </a:lnTo>
                    <a:lnTo>
                      <a:pt x="525" y="472"/>
                    </a:lnTo>
                    <a:lnTo>
                      <a:pt x="525" y="492"/>
                    </a:lnTo>
                    <a:lnTo>
                      <a:pt x="529" y="496"/>
                    </a:lnTo>
                    <a:lnTo>
                      <a:pt x="533" y="500"/>
                    </a:lnTo>
                    <a:lnTo>
                      <a:pt x="561" y="500"/>
                    </a:lnTo>
                    <a:lnTo>
                      <a:pt x="589" y="500"/>
                    </a:lnTo>
                    <a:lnTo>
                      <a:pt x="593" y="504"/>
                    </a:lnTo>
                    <a:lnTo>
                      <a:pt x="597" y="508"/>
                    </a:lnTo>
                    <a:lnTo>
                      <a:pt x="609" y="532"/>
                    </a:lnTo>
                    <a:lnTo>
                      <a:pt x="613" y="549"/>
                    </a:lnTo>
                    <a:lnTo>
                      <a:pt x="622" y="561"/>
                    </a:lnTo>
                    <a:lnTo>
                      <a:pt x="634" y="569"/>
                    </a:lnTo>
                    <a:lnTo>
                      <a:pt x="646" y="573"/>
                    </a:lnTo>
                    <a:lnTo>
                      <a:pt x="658" y="581"/>
                    </a:lnTo>
                    <a:lnTo>
                      <a:pt x="718" y="589"/>
                    </a:lnTo>
                    <a:lnTo>
                      <a:pt x="771" y="593"/>
                    </a:lnTo>
                    <a:lnTo>
                      <a:pt x="775" y="601"/>
                    </a:lnTo>
                    <a:lnTo>
                      <a:pt x="783" y="605"/>
                    </a:lnTo>
                    <a:lnTo>
                      <a:pt x="783" y="613"/>
                    </a:lnTo>
                    <a:lnTo>
                      <a:pt x="783" y="625"/>
                    </a:lnTo>
                    <a:lnTo>
                      <a:pt x="787" y="625"/>
                    </a:lnTo>
                    <a:lnTo>
                      <a:pt x="791" y="633"/>
                    </a:lnTo>
                    <a:lnTo>
                      <a:pt x="791" y="645"/>
                    </a:lnTo>
                    <a:lnTo>
                      <a:pt x="803" y="662"/>
                    </a:lnTo>
                    <a:lnTo>
                      <a:pt x="811" y="686"/>
                    </a:lnTo>
                    <a:lnTo>
                      <a:pt x="815" y="694"/>
                    </a:lnTo>
                    <a:lnTo>
                      <a:pt x="819" y="702"/>
                    </a:lnTo>
                    <a:lnTo>
                      <a:pt x="827" y="702"/>
                    </a:lnTo>
                    <a:lnTo>
                      <a:pt x="835" y="710"/>
                    </a:lnTo>
                    <a:lnTo>
                      <a:pt x="864" y="714"/>
                    </a:lnTo>
                    <a:lnTo>
                      <a:pt x="896" y="722"/>
                    </a:lnTo>
                    <a:lnTo>
                      <a:pt x="904" y="726"/>
                    </a:lnTo>
                    <a:lnTo>
                      <a:pt x="916" y="730"/>
                    </a:lnTo>
                    <a:lnTo>
                      <a:pt x="916" y="738"/>
                    </a:lnTo>
                    <a:lnTo>
                      <a:pt x="920" y="750"/>
                    </a:lnTo>
                    <a:lnTo>
                      <a:pt x="932" y="762"/>
                    </a:lnTo>
                    <a:lnTo>
                      <a:pt x="948" y="775"/>
                    </a:lnTo>
                    <a:lnTo>
                      <a:pt x="952" y="775"/>
                    </a:lnTo>
                    <a:lnTo>
                      <a:pt x="964" y="775"/>
                    </a:lnTo>
                    <a:lnTo>
                      <a:pt x="969" y="799"/>
                    </a:lnTo>
                    <a:lnTo>
                      <a:pt x="969" y="823"/>
                    </a:lnTo>
                    <a:lnTo>
                      <a:pt x="973" y="827"/>
                    </a:lnTo>
                    <a:lnTo>
                      <a:pt x="977" y="839"/>
                    </a:lnTo>
                    <a:lnTo>
                      <a:pt x="977" y="855"/>
                    </a:lnTo>
                    <a:lnTo>
                      <a:pt x="981" y="879"/>
                    </a:lnTo>
                    <a:lnTo>
                      <a:pt x="985" y="883"/>
                    </a:lnTo>
                    <a:lnTo>
                      <a:pt x="993" y="892"/>
                    </a:lnTo>
                    <a:lnTo>
                      <a:pt x="993" y="908"/>
                    </a:lnTo>
                    <a:lnTo>
                      <a:pt x="993" y="920"/>
                    </a:lnTo>
                    <a:lnTo>
                      <a:pt x="981" y="928"/>
                    </a:lnTo>
                    <a:lnTo>
                      <a:pt x="973" y="936"/>
                    </a:lnTo>
                    <a:lnTo>
                      <a:pt x="956" y="936"/>
                    </a:lnTo>
                    <a:lnTo>
                      <a:pt x="948" y="936"/>
                    </a:lnTo>
                    <a:lnTo>
                      <a:pt x="944" y="940"/>
                    </a:lnTo>
                    <a:lnTo>
                      <a:pt x="940" y="948"/>
                    </a:lnTo>
                    <a:lnTo>
                      <a:pt x="928" y="948"/>
                    </a:lnTo>
                    <a:lnTo>
                      <a:pt x="912" y="948"/>
                    </a:lnTo>
                    <a:lnTo>
                      <a:pt x="876" y="948"/>
                    </a:lnTo>
                    <a:lnTo>
                      <a:pt x="835" y="944"/>
                    </a:lnTo>
                    <a:lnTo>
                      <a:pt x="831" y="952"/>
                    </a:lnTo>
                    <a:lnTo>
                      <a:pt x="831" y="956"/>
                    </a:lnTo>
                    <a:lnTo>
                      <a:pt x="819" y="968"/>
                    </a:lnTo>
                    <a:lnTo>
                      <a:pt x="811" y="976"/>
                    </a:lnTo>
                    <a:lnTo>
                      <a:pt x="811" y="980"/>
                    </a:lnTo>
                    <a:lnTo>
                      <a:pt x="811" y="988"/>
                    </a:lnTo>
                    <a:lnTo>
                      <a:pt x="815" y="996"/>
                    </a:lnTo>
                    <a:lnTo>
                      <a:pt x="819" y="1021"/>
                    </a:lnTo>
                    <a:lnTo>
                      <a:pt x="827" y="1033"/>
                    </a:lnTo>
                    <a:lnTo>
                      <a:pt x="835" y="1045"/>
                    </a:lnTo>
                    <a:lnTo>
                      <a:pt x="831" y="1069"/>
                    </a:lnTo>
                    <a:lnTo>
                      <a:pt x="831" y="1101"/>
                    </a:lnTo>
                    <a:lnTo>
                      <a:pt x="831" y="1105"/>
                    </a:lnTo>
                    <a:lnTo>
                      <a:pt x="827" y="1109"/>
                    </a:lnTo>
                    <a:lnTo>
                      <a:pt x="807" y="1121"/>
                    </a:lnTo>
                    <a:lnTo>
                      <a:pt x="787" y="1138"/>
                    </a:lnTo>
                    <a:lnTo>
                      <a:pt x="783" y="1138"/>
                    </a:lnTo>
                    <a:lnTo>
                      <a:pt x="775" y="1142"/>
                    </a:lnTo>
                    <a:lnTo>
                      <a:pt x="771" y="1146"/>
                    </a:lnTo>
                    <a:lnTo>
                      <a:pt x="759" y="1154"/>
                    </a:lnTo>
                    <a:lnTo>
                      <a:pt x="759" y="1158"/>
                    </a:lnTo>
                    <a:lnTo>
                      <a:pt x="755" y="1166"/>
                    </a:lnTo>
                    <a:lnTo>
                      <a:pt x="739" y="1178"/>
                    </a:lnTo>
                    <a:lnTo>
                      <a:pt x="726" y="1190"/>
                    </a:lnTo>
                    <a:lnTo>
                      <a:pt x="718" y="1190"/>
                    </a:lnTo>
                    <a:lnTo>
                      <a:pt x="710" y="1194"/>
                    </a:lnTo>
                    <a:lnTo>
                      <a:pt x="702" y="1202"/>
                    </a:lnTo>
                    <a:lnTo>
                      <a:pt x="698" y="1206"/>
                    </a:lnTo>
                    <a:lnTo>
                      <a:pt x="698" y="1210"/>
                    </a:lnTo>
                    <a:lnTo>
                      <a:pt x="698" y="1222"/>
                    </a:lnTo>
                    <a:lnTo>
                      <a:pt x="702" y="1222"/>
                    </a:lnTo>
                    <a:lnTo>
                      <a:pt x="702" y="1234"/>
                    </a:lnTo>
                    <a:lnTo>
                      <a:pt x="702" y="1247"/>
                    </a:lnTo>
                    <a:lnTo>
                      <a:pt x="698" y="1247"/>
                    </a:lnTo>
                    <a:lnTo>
                      <a:pt x="698" y="1263"/>
                    </a:lnTo>
                    <a:lnTo>
                      <a:pt x="698" y="1275"/>
                    </a:lnTo>
                    <a:lnTo>
                      <a:pt x="698" y="1283"/>
                    </a:lnTo>
                    <a:lnTo>
                      <a:pt x="686" y="1287"/>
                    </a:lnTo>
                    <a:lnTo>
                      <a:pt x="674" y="1299"/>
                    </a:lnTo>
                    <a:lnTo>
                      <a:pt x="650" y="1299"/>
                    </a:lnTo>
                    <a:lnTo>
                      <a:pt x="622" y="1307"/>
                    </a:lnTo>
                    <a:lnTo>
                      <a:pt x="622" y="1315"/>
                    </a:lnTo>
                    <a:lnTo>
                      <a:pt x="622" y="1331"/>
                    </a:lnTo>
                    <a:lnTo>
                      <a:pt x="618" y="1335"/>
                    </a:lnTo>
                    <a:lnTo>
                      <a:pt x="613" y="1335"/>
                    </a:lnTo>
                    <a:lnTo>
                      <a:pt x="613" y="1351"/>
                    </a:lnTo>
                    <a:lnTo>
                      <a:pt x="609" y="1368"/>
                    </a:lnTo>
                    <a:lnTo>
                      <a:pt x="605" y="1372"/>
                    </a:lnTo>
                    <a:lnTo>
                      <a:pt x="597" y="1388"/>
                    </a:lnTo>
                    <a:lnTo>
                      <a:pt x="597" y="1400"/>
                    </a:lnTo>
                    <a:lnTo>
                      <a:pt x="585" y="1404"/>
                    </a:lnTo>
                    <a:lnTo>
                      <a:pt x="577" y="1404"/>
                    </a:lnTo>
                    <a:lnTo>
                      <a:pt x="561" y="1412"/>
                    </a:lnTo>
                    <a:lnTo>
                      <a:pt x="545" y="1420"/>
                    </a:lnTo>
                    <a:lnTo>
                      <a:pt x="541" y="1440"/>
                    </a:lnTo>
                    <a:lnTo>
                      <a:pt x="533" y="1452"/>
                    </a:lnTo>
                    <a:lnTo>
                      <a:pt x="525" y="1452"/>
                    </a:lnTo>
                    <a:lnTo>
                      <a:pt x="509" y="145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52" name="Freeform 68"/>
              <p:cNvSpPr>
                <a:spLocks/>
              </p:cNvSpPr>
              <p:nvPr/>
            </p:nvSpPr>
            <p:spPr bwMode="auto">
              <a:xfrm>
                <a:off x="5543638" y="2557033"/>
                <a:ext cx="1027113" cy="783131"/>
              </a:xfrm>
              <a:custGeom>
                <a:avLst/>
                <a:gdLst>
                  <a:gd name="T0" fmla="*/ 2147483647 w 1145"/>
                  <a:gd name="T1" fmla="*/ 2147483647 h 879"/>
                  <a:gd name="T2" fmla="*/ 2147483647 w 1145"/>
                  <a:gd name="T3" fmla="*/ 2147483647 h 879"/>
                  <a:gd name="T4" fmla="*/ 2147483647 w 1145"/>
                  <a:gd name="T5" fmla="*/ 2147483647 h 879"/>
                  <a:gd name="T6" fmla="*/ 2147483647 w 1145"/>
                  <a:gd name="T7" fmla="*/ 2147483647 h 879"/>
                  <a:gd name="T8" fmla="*/ 2147483647 w 1145"/>
                  <a:gd name="T9" fmla="*/ 2147483647 h 879"/>
                  <a:gd name="T10" fmla="*/ 2147483647 w 1145"/>
                  <a:gd name="T11" fmla="*/ 2147483647 h 879"/>
                  <a:gd name="T12" fmla="*/ 2147483647 w 1145"/>
                  <a:gd name="T13" fmla="*/ 2147483647 h 879"/>
                  <a:gd name="T14" fmla="*/ 2147483647 w 1145"/>
                  <a:gd name="T15" fmla="*/ 2147483647 h 879"/>
                  <a:gd name="T16" fmla="*/ 2147483647 w 1145"/>
                  <a:gd name="T17" fmla="*/ 2147483647 h 879"/>
                  <a:gd name="T18" fmla="*/ 2147483647 w 1145"/>
                  <a:gd name="T19" fmla="*/ 2147483647 h 879"/>
                  <a:gd name="T20" fmla="*/ 2147483647 w 1145"/>
                  <a:gd name="T21" fmla="*/ 2147483647 h 879"/>
                  <a:gd name="T22" fmla="*/ 2147483647 w 1145"/>
                  <a:gd name="T23" fmla="*/ 2147483647 h 879"/>
                  <a:gd name="T24" fmla="*/ 2147483647 w 1145"/>
                  <a:gd name="T25" fmla="*/ 2147483647 h 879"/>
                  <a:gd name="T26" fmla="*/ 2147483647 w 1145"/>
                  <a:gd name="T27" fmla="*/ 2147483647 h 879"/>
                  <a:gd name="T28" fmla="*/ 2147483647 w 1145"/>
                  <a:gd name="T29" fmla="*/ 2147483647 h 879"/>
                  <a:gd name="T30" fmla="*/ 2147483647 w 1145"/>
                  <a:gd name="T31" fmla="*/ 2147483647 h 879"/>
                  <a:gd name="T32" fmla="*/ 2147483647 w 1145"/>
                  <a:gd name="T33" fmla="*/ 2147483647 h 879"/>
                  <a:gd name="T34" fmla="*/ 2147483647 w 1145"/>
                  <a:gd name="T35" fmla="*/ 2147483647 h 879"/>
                  <a:gd name="T36" fmla="*/ 2147483647 w 1145"/>
                  <a:gd name="T37" fmla="*/ 2147483647 h 879"/>
                  <a:gd name="T38" fmla="*/ 2147483647 w 1145"/>
                  <a:gd name="T39" fmla="*/ 2147483647 h 879"/>
                  <a:gd name="T40" fmla="*/ 2147483647 w 1145"/>
                  <a:gd name="T41" fmla="*/ 2147483647 h 879"/>
                  <a:gd name="T42" fmla="*/ 2147483647 w 1145"/>
                  <a:gd name="T43" fmla="*/ 2147483647 h 879"/>
                  <a:gd name="T44" fmla="*/ 2147483647 w 1145"/>
                  <a:gd name="T45" fmla="*/ 2147483647 h 879"/>
                  <a:gd name="T46" fmla="*/ 2147483647 w 1145"/>
                  <a:gd name="T47" fmla="*/ 2147483647 h 879"/>
                  <a:gd name="T48" fmla="*/ 2147483647 w 1145"/>
                  <a:gd name="T49" fmla="*/ 2147483647 h 879"/>
                  <a:gd name="T50" fmla="*/ 2147483647 w 1145"/>
                  <a:gd name="T51" fmla="*/ 2147483647 h 879"/>
                  <a:gd name="T52" fmla="*/ 2147483647 w 1145"/>
                  <a:gd name="T53" fmla="*/ 2147483647 h 879"/>
                  <a:gd name="T54" fmla="*/ 2147483647 w 1145"/>
                  <a:gd name="T55" fmla="*/ 2147483647 h 879"/>
                  <a:gd name="T56" fmla="*/ 2147483647 w 1145"/>
                  <a:gd name="T57" fmla="*/ 2147483647 h 879"/>
                  <a:gd name="T58" fmla="*/ 2147483647 w 1145"/>
                  <a:gd name="T59" fmla="*/ 2147483647 h 879"/>
                  <a:gd name="T60" fmla="*/ 2147483647 w 1145"/>
                  <a:gd name="T61" fmla="*/ 2147483647 h 879"/>
                  <a:gd name="T62" fmla="*/ 2147483647 w 1145"/>
                  <a:gd name="T63" fmla="*/ 2147483647 h 879"/>
                  <a:gd name="T64" fmla="*/ 2147483647 w 1145"/>
                  <a:gd name="T65" fmla="*/ 2147483647 h 879"/>
                  <a:gd name="T66" fmla="*/ 0 w 1145"/>
                  <a:gd name="T67" fmla="*/ 2147483647 h 879"/>
                  <a:gd name="T68" fmla="*/ 2147483647 w 1145"/>
                  <a:gd name="T69" fmla="*/ 2147483647 h 879"/>
                  <a:gd name="T70" fmla="*/ 2147483647 w 1145"/>
                  <a:gd name="T71" fmla="*/ 2147483647 h 879"/>
                  <a:gd name="T72" fmla="*/ 2147483647 w 1145"/>
                  <a:gd name="T73" fmla="*/ 2147483647 h 879"/>
                  <a:gd name="T74" fmla="*/ 2147483647 w 1145"/>
                  <a:gd name="T75" fmla="*/ 2147483647 h 879"/>
                  <a:gd name="T76" fmla="*/ 2147483647 w 1145"/>
                  <a:gd name="T77" fmla="*/ 2147483647 h 879"/>
                  <a:gd name="T78" fmla="*/ 2147483647 w 1145"/>
                  <a:gd name="T79" fmla="*/ 2147483647 h 879"/>
                  <a:gd name="T80" fmla="*/ 2147483647 w 1145"/>
                  <a:gd name="T81" fmla="*/ 2147483647 h 879"/>
                  <a:gd name="T82" fmla="*/ 2147483647 w 1145"/>
                  <a:gd name="T83" fmla="*/ 2147483647 h 879"/>
                  <a:gd name="T84" fmla="*/ 2147483647 w 1145"/>
                  <a:gd name="T85" fmla="*/ 2147483647 h 879"/>
                  <a:gd name="T86" fmla="*/ 2147483647 w 1145"/>
                  <a:gd name="T87" fmla="*/ 2147483647 h 879"/>
                  <a:gd name="T88" fmla="*/ 2147483647 w 1145"/>
                  <a:gd name="T89" fmla="*/ 2147483647 h 879"/>
                  <a:gd name="T90" fmla="*/ 2147483647 w 1145"/>
                  <a:gd name="T91" fmla="*/ 2147483647 h 879"/>
                  <a:gd name="T92" fmla="*/ 2147483647 w 1145"/>
                  <a:gd name="T93" fmla="*/ 2147483647 h 879"/>
                  <a:gd name="T94" fmla="*/ 2147483647 w 1145"/>
                  <a:gd name="T95" fmla="*/ 2147483647 h 879"/>
                  <a:gd name="T96" fmla="*/ 2147483647 w 1145"/>
                  <a:gd name="T97" fmla="*/ 2147483647 h 879"/>
                  <a:gd name="T98" fmla="*/ 2147483647 w 1145"/>
                  <a:gd name="T99" fmla="*/ 2147483647 h 879"/>
                  <a:gd name="T100" fmla="*/ 2147483647 w 1145"/>
                  <a:gd name="T101" fmla="*/ 2147483647 h 879"/>
                  <a:gd name="T102" fmla="*/ 2147483647 w 1145"/>
                  <a:gd name="T103" fmla="*/ 2147483647 h 879"/>
                  <a:gd name="T104" fmla="*/ 2147483647 w 1145"/>
                  <a:gd name="T105" fmla="*/ 2147483647 h 879"/>
                  <a:gd name="T106" fmla="*/ 2147483647 w 1145"/>
                  <a:gd name="T107" fmla="*/ 2147483647 h 879"/>
                  <a:gd name="T108" fmla="*/ 2147483647 w 1145"/>
                  <a:gd name="T109" fmla="*/ 2147483647 h 879"/>
                  <a:gd name="T110" fmla="*/ 2147483647 w 1145"/>
                  <a:gd name="T111" fmla="*/ 2147483647 h 879"/>
                  <a:gd name="T112" fmla="*/ 2147483647 w 1145"/>
                  <a:gd name="T113" fmla="*/ 2147483647 h 879"/>
                  <a:gd name="T114" fmla="*/ 2147483647 w 1145"/>
                  <a:gd name="T115" fmla="*/ 2147483647 h 879"/>
                  <a:gd name="T116" fmla="*/ 2147483647 w 1145"/>
                  <a:gd name="T117" fmla="*/ 2147483647 h 879"/>
                  <a:gd name="T118" fmla="*/ 2147483647 w 1145"/>
                  <a:gd name="T119" fmla="*/ 2147483647 h 879"/>
                  <a:gd name="T120" fmla="*/ 2147483647 w 1145"/>
                  <a:gd name="T121" fmla="*/ 2147483647 h 879"/>
                  <a:gd name="T122" fmla="*/ 2147483647 w 1145"/>
                  <a:gd name="T123" fmla="*/ 2147483647 h 87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45"/>
                  <a:gd name="T187" fmla="*/ 0 h 879"/>
                  <a:gd name="T188" fmla="*/ 1145 w 1145"/>
                  <a:gd name="T189" fmla="*/ 879 h 87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45" h="879">
                    <a:moveTo>
                      <a:pt x="948" y="335"/>
                    </a:moveTo>
                    <a:lnTo>
                      <a:pt x="944" y="355"/>
                    </a:lnTo>
                    <a:lnTo>
                      <a:pt x="940" y="367"/>
                    </a:lnTo>
                    <a:lnTo>
                      <a:pt x="940" y="379"/>
                    </a:lnTo>
                    <a:lnTo>
                      <a:pt x="940" y="395"/>
                    </a:lnTo>
                    <a:lnTo>
                      <a:pt x="944" y="411"/>
                    </a:lnTo>
                    <a:lnTo>
                      <a:pt x="948" y="427"/>
                    </a:lnTo>
                    <a:lnTo>
                      <a:pt x="964" y="435"/>
                    </a:lnTo>
                    <a:lnTo>
                      <a:pt x="976" y="439"/>
                    </a:lnTo>
                    <a:lnTo>
                      <a:pt x="980" y="448"/>
                    </a:lnTo>
                    <a:lnTo>
                      <a:pt x="984" y="456"/>
                    </a:lnTo>
                    <a:lnTo>
                      <a:pt x="988" y="456"/>
                    </a:lnTo>
                    <a:lnTo>
                      <a:pt x="996" y="456"/>
                    </a:lnTo>
                    <a:lnTo>
                      <a:pt x="1000" y="448"/>
                    </a:lnTo>
                    <a:lnTo>
                      <a:pt x="1004" y="439"/>
                    </a:lnTo>
                    <a:lnTo>
                      <a:pt x="1016" y="435"/>
                    </a:lnTo>
                    <a:lnTo>
                      <a:pt x="1024" y="431"/>
                    </a:lnTo>
                    <a:lnTo>
                      <a:pt x="1032" y="427"/>
                    </a:lnTo>
                    <a:lnTo>
                      <a:pt x="1049" y="419"/>
                    </a:lnTo>
                    <a:lnTo>
                      <a:pt x="1065" y="411"/>
                    </a:lnTo>
                    <a:lnTo>
                      <a:pt x="1085" y="403"/>
                    </a:lnTo>
                    <a:lnTo>
                      <a:pt x="1093" y="403"/>
                    </a:lnTo>
                    <a:lnTo>
                      <a:pt x="1101" y="403"/>
                    </a:lnTo>
                    <a:lnTo>
                      <a:pt x="1101" y="407"/>
                    </a:lnTo>
                    <a:lnTo>
                      <a:pt x="1109" y="415"/>
                    </a:lnTo>
                    <a:lnTo>
                      <a:pt x="1109" y="435"/>
                    </a:lnTo>
                    <a:lnTo>
                      <a:pt x="1113" y="464"/>
                    </a:lnTo>
                    <a:lnTo>
                      <a:pt x="1121" y="488"/>
                    </a:lnTo>
                    <a:lnTo>
                      <a:pt x="1125" y="508"/>
                    </a:lnTo>
                    <a:lnTo>
                      <a:pt x="1137" y="516"/>
                    </a:lnTo>
                    <a:lnTo>
                      <a:pt x="1145" y="528"/>
                    </a:lnTo>
                    <a:lnTo>
                      <a:pt x="1145" y="540"/>
                    </a:lnTo>
                    <a:lnTo>
                      <a:pt x="1145" y="552"/>
                    </a:lnTo>
                    <a:lnTo>
                      <a:pt x="1121" y="565"/>
                    </a:lnTo>
                    <a:lnTo>
                      <a:pt x="1101" y="577"/>
                    </a:lnTo>
                    <a:lnTo>
                      <a:pt x="1065" y="593"/>
                    </a:lnTo>
                    <a:lnTo>
                      <a:pt x="1028" y="609"/>
                    </a:lnTo>
                    <a:lnTo>
                      <a:pt x="1024" y="613"/>
                    </a:lnTo>
                    <a:lnTo>
                      <a:pt x="1020" y="621"/>
                    </a:lnTo>
                    <a:lnTo>
                      <a:pt x="952" y="625"/>
                    </a:lnTo>
                    <a:lnTo>
                      <a:pt x="924" y="629"/>
                    </a:lnTo>
                    <a:lnTo>
                      <a:pt x="920" y="621"/>
                    </a:lnTo>
                    <a:lnTo>
                      <a:pt x="911" y="613"/>
                    </a:lnTo>
                    <a:lnTo>
                      <a:pt x="899" y="613"/>
                    </a:lnTo>
                    <a:lnTo>
                      <a:pt x="891" y="609"/>
                    </a:lnTo>
                    <a:lnTo>
                      <a:pt x="887" y="601"/>
                    </a:lnTo>
                    <a:lnTo>
                      <a:pt x="883" y="597"/>
                    </a:lnTo>
                    <a:lnTo>
                      <a:pt x="871" y="593"/>
                    </a:lnTo>
                    <a:lnTo>
                      <a:pt x="855" y="585"/>
                    </a:lnTo>
                    <a:lnTo>
                      <a:pt x="847" y="577"/>
                    </a:lnTo>
                    <a:lnTo>
                      <a:pt x="843" y="577"/>
                    </a:lnTo>
                    <a:lnTo>
                      <a:pt x="839" y="573"/>
                    </a:lnTo>
                    <a:lnTo>
                      <a:pt x="831" y="573"/>
                    </a:lnTo>
                    <a:lnTo>
                      <a:pt x="819" y="560"/>
                    </a:lnTo>
                    <a:lnTo>
                      <a:pt x="794" y="540"/>
                    </a:lnTo>
                    <a:lnTo>
                      <a:pt x="774" y="528"/>
                    </a:lnTo>
                    <a:lnTo>
                      <a:pt x="750" y="524"/>
                    </a:lnTo>
                    <a:lnTo>
                      <a:pt x="734" y="524"/>
                    </a:lnTo>
                    <a:lnTo>
                      <a:pt x="718" y="524"/>
                    </a:lnTo>
                    <a:lnTo>
                      <a:pt x="690" y="540"/>
                    </a:lnTo>
                    <a:lnTo>
                      <a:pt x="661" y="552"/>
                    </a:lnTo>
                    <a:lnTo>
                      <a:pt x="657" y="560"/>
                    </a:lnTo>
                    <a:lnTo>
                      <a:pt x="649" y="573"/>
                    </a:lnTo>
                    <a:lnTo>
                      <a:pt x="617" y="589"/>
                    </a:lnTo>
                    <a:lnTo>
                      <a:pt x="589" y="609"/>
                    </a:lnTo>
                    <a:lnTo>
                      <a:pt x="569" y="609"/>
                    </a:lnTo>
                    <a:lnTo>
                      <a:pt x="552" y="609"/>
                    </a:lnTo>
                    <a:lnTo>
                      <a:pt x="548" y="601"/>
                    </a:lnTo>
                    <a:lnTo>
                      <a:pt x="540" y="597"/>
                    </a:lnTo>
                    <a:lnTo>
                      <a:pt x="536" y="597"/>
                    </a:lnTo>
                    <a:lnTo>
                      <a:pt x="524" y="597"/>
                    </a:lnTo>
                    <a:lnTo>
                      <a:pt x="508" y="585"/>
                    </a:lnTo>
                    <a:lnTo>
                      <a:pt x="492" y="573"/>
                    </a:lnTo>
                    <a:lnTo>
                      <a:pt x="484" y="573"/>
                    </a:lnTo>
                    <a:lnTo>
                      <a:pt x="476" y="573"/>
                    </a:lnTo>
                    <a:lnTo>
                      <a:pt x="435" y="573"/>
                    </a:lnTo>
                    <a:lnTo>
                      <a:pt x="399" y="573"/>
                    </a:lnTo>
                    <a:lnTo>
                      <a:pt x="375" y="573"/>
                    </a:lnTo>
                    <a:lnTo>
                      <a:pt x="347" y="577"/>
                    </a:lnTo>
                    <a:lnTo>
                      <a:pt x="339" y="577"/>
                    </a:lnTo>
                    <a:lnTo>
                      <a:pt x="322" y="589"/>
                    </a:lnTo>
                    <a:lnTo>
                      <a:pt x="306" y="601"/>
                    </a:lnTo>
                    <a:lnTo>
                      <a:pt x="294" y="613"/>
                    </a:lnTo>
                    <a:lnTo>
                      <a:pt x="294" y="633"/>
                    </a:lnTo>
                    <a:lnTo>
                      <a:pt x="290" y="649"/>
                    </a:lnTo>
                    <a:lnTo>
                      <a:pt x="270" y="677"/>
                    </a:lnTo>
                    <a:lnTo>
                      <a:pt x="258" y="702"/>
                    </a:lnTo>
                    <a:lnTo>
                      <a:pt x="254" y="710"/>
                    </a:lnTo>
                    <a:lnTo>
                      <a:pt x="250" y="722"/>
                    </a:lnTo>
                    <a:lnTo>
                      <a:pt x="226" y="754"/>
                    </a:lnTo>
                    <a:lnTo>
                      <a:pt x="205" y="770"/>
                    </a:lnTo>
                    <a:lnTo>
                      <a:pt x="189" y="778"/>
                    </a:lnTo>
                    <a:lnTo>
                      <a:pt x="165" y="790"/>
                    </a:lnTo>
                    <a:lnTo>
                      <a:pt x="153" y="799"/>
                    </a:lnTo>
                    <a:lnTo>
                      <a:pt x="145" y="807"/>
                    </a:lnTo>
                    <a:lnTo>
                      <a:pt x="125" y="811"/>
                    </a:lnTo>
                    <a:lnTo>
                      <a:pt x="113" y="815"/>
                    </a:lnTo>
                    <a:lnTo>
                      <a:pt x="88" y="831"/>
                    </a:lnTo>
                    <a:lnTo>
                      <a:pt x="72" y="851"/>
                    </a:lnTo>
                    <a:lnTo>
                      <a:pt x="64" y="855"/>
                    </a:lnTo>
                    <a:lnTo>
                      <a:pt x="64" y="867"/>
                    </a:lnTo>
                    <a:lnTo>
                      <a:pt x="56" y="871"/>
                    </a:lnTo>
                    <a:lnTo>
                      <a:pt x="52" y="879"/>
                    </a:lnTo>
                    <a:lnTo>
                      <a:pt x="48" y="879"/>
                    </a:lnTo>
                    <a:lnTo>
                      <a:pt x="40" y="875"/>
                    </a:lnTo>
                    <a:lnTo>
                      <a:pt x="40" y="847"/>
                    </a:lnTo>
                    <a:lnTo>
                      <a:pt x="36" y="843"/>
                    </a:lnTo>
                    <a:lnTo>
                      <a:pt x="36" y="827"/>
                    </a:lnTo>
                    <a:lnTo>
                      <a:pt x="36" y="807"/>
                    </a:lnTo>
                    <a:lnTo>
                      <a:pt x="32" y="803"/>
                    </a:lnTo>
                    <a:lnTo>
                      <a:pt x="28" y="799"/>
                    </a:lnTo>
                    <a:lnTo>
                      <a:pt x="24" y="782"/>
                    </a:lnTo>
                    <a:lnTo>
                      <a:pt x="16" y="766"/>
                    </a:lnTo>
                    <a:lnTo>
                      <a:pt x="8" y="726"/>
                    </a:lnTo>
                    <a:lnTo>
                      <a:pt x="4" y="686"/>
                    </a:lnTo>
                    <a:lnTo>
                      <a:pt x="4" y="665"/>
                    </a:lnTo>
                    <a:lnTo>
                      <a:pt x="4" y="645"/>
                    </a:lnTo>
                    <a:lnTo>
                      <a:pt x="4" y="621"/>
                    </a:lnTo>
                    <a:lnTo>
                      <a:pt x="8" y="597"/>
                    </a:lnTo>
                    <a:lnTo>
                      <a:pt x="16" y="560"/>
                    </a:lnTo>
                    <a:lnTo>
                      <a:pt x="20" y="484"/>
                    </a:lnTo>
                    <a:lnTo>
                      <a:pt x="52" y="431"/>
                    </a:lnTo>
                    <a:lnTo>
                      <a:pt x="60" y="415"/>
                    </a:lnTo>
                    <a:lnTo>
                      <a:pt x="60" y="407"/>
                    </a:lnTo>
                    <a:lnTo>
                      <a:pt x="60" y="395"/>
                    </a:lnTo>
                    <a:lnTo>
                      <a:pt x="52" y="359"/>
                    </a:lnTo>
                    <a:lnTo>
                      <a:pt x="36" y="310"/>
                    </a:lnTo>
                    <a:lnTo>
                      <a:pt x="28" y="286"/>
                    </a:lnTo>
                    <a:lnTo>
                      <a:pt x="24" y="266"/>
                    </a:lnTo>
                    <a:lnTo>
                      <a:pt x="24" y="230"/>
                    </a:lnTo>
                    <a:lnTo>
                      <a:pt x="20" y="189"/>
                    </a:lnTo>
                    <a:lnTo>
                      <a:pt x="8" y="169"/>
                    </a:lnTo>
                    <a:lnTo>
                      <a:pt x="4" y="149"/>
                    </a:lnTo>
                    <a:lnTo>
                      <a:pt x="0" y="133"/>
                    </a:lnTo>
                    <a:lnTo>
                      <a:pt x="0" y="117"/>
                    </a:lnTo>
                    <a:lnTo>
                      <a:pt x="0" y="101"/>
                    </a:lnTo>
                    <a:lnTo>
                      <a:pt x="0" y="88"/>
                    </a:lnTo>
                    <a:lnTo>
                      <a:pt x="32" y="76"/>
                    </a:lnTo>
                    <a:lnTo>
                      <a:pt x="60" y="64"/>
                    </a:lnTo>
                    <a:lnTo>
                      <a:pt x="72" y="52"/>
                    </a:lnTo>
                    <a:lnTo>
                      <a:pt x="76" y="40"/>
                    </a:lnTo>
                    <a:lnTo>
                      <a:pt x="84" y="36"/>
                    </a:lnTo>
                    <a:lnTo>
                      <a:pt x="93" y="28"/>
                    </a:lnTo>
                    <a:lnTo>
                      <a:pt x="113" y="12"/>
                    </a:lnTo>
                    <a:lnTo>
                      <a:pt x="125" y="0"/>
                    </a:lnTo>
                    <a:lnTo>
                      <a:pt x="129" y="0"/>
                    </a:lnTo>
                    <a:lnTo>
                      <a:pt x="145" y="0"/>
                    </a:lnTo>
                    <a:lnTo>
                      <a:pt x="153" y="12"/>
                    </a:lnTo>
                    <a:lnTo>
                      <a:pt x="169" y="20"/>
                    </a:lnTo>
                    <a:lnTo>
                      <a:pt x="181" y="20"/>
                    </a:lnTo>
                    <a:lnTo>
                      <a:pt x="201" y="20"/>
                    </a:lnTo>
                    <a:lnTo>
                      <a:pt x="205" y="16"/>
                    </a:lnTo>
                    <a:lnTo>
                      <a:pt x="214" y="16"/>
                    </a:lnTo>
                    <a:lnTo>
                      <a:pt x="226" y="16"/>
                    </a:lnTo>
                    <a:lnTo>
                      <a:pt x="238" y="16"/>
                    </a:lnTo>
                    <a:lnTo>
                      <a:pt x="250" y="28"/>
                    </a:lnTo>
                    <a:lnTo>
                      <a:pt x="254" y="36"/>
                    </a:lnTo>
                    <a:lnTo>
                      <a:pt x="270" y="44"/>
                    </a:lnTo>
                    <a:lnTo>
                      <a:pt x="278" y="52"/>
                    </a:lnTo>
                    <a:lnTo>
                      <a:pt x="294" y="52"/>
                    </a:lnTo>
                    <a:lnTo>
                      <a:pt x="314" y="52"/>
                    </a:lnTo>
                    <a:lnTo>
                      <a:pt x="322" y="36"/>
                    </a:lnTo>
                    <a:lnTo>
                      <a:pt x="339" y="20"/>
                    </a:lnTo>
                    <a:lnTo>
                      <a:pt x="343" y="28"/>
                    </a:lnTo>
                    <a:lnTo>
                      <a:pt x="347" y="40"/>
                    </a:lnTo>
                    <a:lnTo>
                      <a:pt x="363" y="44"/>
                    </a:lnTo>
                    <a:lnTo>
                      <a:pt x="371" y="48"/>
                    </a:lnTo>
                    <a:lnTo>
                      <a:pt x="371" y="64"/>
                    </a:lnTo>
                    <a:lnTo>
                      <a:pt x="375" y="64"/>
                    </a:lnTo>
                    <a:lnTo>
                      <a:pt x="379" y="80"/>
                    </a:lnTo>
                    <a:lnTo>
                      <a:pt x="383" y="101"/>
                    </a:lnTo>
                    <a:lnTo>
                      <a:pt x="399" y="129"/>
                    </a:lnTo>
                    <a:lnTo>
                      <a:pt x="403" y="149"/>
                    </a:lnTo>
                    <a:lnTo>
                      <a:pt x="407" y="149"/>
                    </a:lnTo>
                    <a:lnTo>
                      <a:pt x="419" y="153"/>
                    </a:lnTo>
                    <a:lnTo>
                      <a:pt x="427" y="153"/>
                    </a:lnTo>
                    <a:lnTo>
                      <a:pt x="435" y="153"/>
                    </a:lnTo>
                    <a:lnTo>
                      <a:pt x="456" y="137"/>
                    </a:lnTo>
                    <a:lnTo>
                      <a:pt x="480" y="117"/>
                    </a:lnTo>
                    <a:lnTo>
                      <a:pt x="480" y="105"/>
                    </a:lnTo>
                    <a:lnTo>
                      <a:pt x="484" y="92"/>
                    </a:lnTo>
                    <a:lnTo>
                      <a:pt x="484" y="88"/>
                    </a:lnTo>
                    <a:lnTo>
                      <a:pt x="488" y="80"/>
                    </a:lnTo>
                    <a:lnTo>
                      <a:pt x="492" y="64"/>
                    </a:lnTo>
                    <a:lnTo>
                      <a:pt x="492" y="48"/>
                    </a:lnTo>
                    <a:lnTo>
                      <a:pt x="500" y="44"/>
                    </a:lnTo>
                    <a:lnTo>
                      <a:pt x="508" y="40"/>
                    </a:lnTo>
                    <a:lnTo>
                      <a:pt x="516" y="40"/>
                    </a:lnTo>
                    <a:lnTo>
                      <a:pt x="520" y="40"/>
                    </a:lnTo>
                    <a:lnTo>
                      <a:pt x="520" y="44"/>
                    </a:lnTo>
                    <a:lnTo>
                      <a:pt x="524" y="48"/>
                    </a:lnTo>
                    <a:lnTo>
                      <a:pt x="528" y="64"/>
                    </a:lnTo>
                    <a:lnTo>
                      <a:pt x="528" y="72"/>
                    </a:lnTo>
                    <a:lnTo>
                      <a:pt x="536" y="76"/>
                    </a:lnTo>
                    <a:lnTo>
                      <a:pt x="540" y="80"/>
                    </a:lnTo>
                    <a:lnTo>
                      <a:pt x="540" y="84"/>
                    </a:lnTo>
                    <a:lnTo>
                      <a:pt x="544" y="92"/>
                    </a:lnTo>
                    <a:lnTo>
                      <a:pt x="548" y="92"/>
                    </a:lnTo>
                    <a:lnTo>
                      <a:pt x="552" y="101"/>
                    </a:lnTo>
                    <a:lnTo>
                      <a:pt x="581" y="101"/>
                    </a:lnTo>
                    <a:lnTo>
                      <a:pt x="601" y="92"/>
                    </a:lnTo>
                    <a:lnTo>
                      <a:pt x="613" y="105"/>
                    </a:lnTo>
                    <a:lnTo>
                      <a:pt x="617" y="117"/>
                    </a:lnTo>
                    <a:lnTo>
                      <a:pt x="617" y="133"/>
                    </a:lnTo>
                    <a:lnTo>
                      <a:pt x="617" y="157"/>
                    </a:lnTo>
                    <a:lnTo>
                      <a:pt x="617" y="161"/>
                    </a:lnTo>
                    <a:lnTo>
                      <a:pt x="613" y="165"/>
                    </a:lnTo>
                    <a:lnTo>
                      <a:pt x="613" y="177"/>
                    </a:lnTo>
                    <a:lnTo>
                      <a:pt x="613" y="189"/>
                    </a:lnTo>
                    <a:lnTo>
                      <a:pt x="621" y="201"/>
                    </a:lnTo>
                    <a:lnTo>
                      <a:pt x="633" y="209"/>
                    </a:lnTo>
                    <a:lnTo>
                      <a:pt x="665" y="218"/>
                    </a:lnTo>
                    <a:lnTo>
                      <a:pt x="694" y="226"/>
                    </a:lnTo>
                    <a:lnTo>
                      <a:pt x="702" y="234"/>
                    </a:lnTo>
                    <a:lnTo>
                      <a:pt x="706" y="246"/>
                    </a:lnTo>
                    <a:lnTo>
                      <a:pt x="706" y="250"/>
                    </a:lnTo>
                    <a:lnTo>
                      <a:pt x="714" y="254"/>
                    </a:lnTo>
                    <a:lnTo>
                      <a:pt x="714" y="266"/>
                    </a:lnTo>
                    <a:lnTo>
                      <a:pt x="714" y="282"/>
                    </a:lnTo>
                    <a:lnTo>
                      <a:pt x="706" y="286"/>
                    </a:lnTo>
                    <a:lnTo>
                      <a:pt x="702" y="298"/>
                    </a:lnTo>
                    <a:lnTo>
                      <a:pt x="694" y="302"/>
                    </a:lnTo>
                    <a:lnTo>
                      <a:pt x="686" y="310"/>
                    </a:lnTo>
                    <a:lnTo>
                      <a:pt x="686" y="318"/>
                    </a:lnTo>
                    <a:lnTo>
                      <a:pt x="686" y="335"/>
                    </a:lnTo>
                    <a:lnTo>
                      <a:pt x="690" y="339"/>
                    </a:lnTo>
                    <a:lnTo>
                      <a:pt x="694" y="347"/>
                    </a:lnTo>
                    <a:lnTo>
                      <a:pt x="714" y="359"/>
                    </a:lnTo>
                    <a:lnTo>
                      <a:pt x="730" y="371"/>
                    </a:lnTo>
                    <a:lnTo>
                      <a:pt x="734" y="367"/>
                    </a:lnTo>
                    <a:lnTo>
                      <a:pt x="746" y="367"/>
                    </a:lnTo>
                    <a:lnTo>
                      <a:pt x="750" y="359"/>
                    </a:lnTo>
                    <a:lnTo>
                      <a:pt x="754" y="355"/>
                    </a:lnTo>
                    <a:lnTo>
                      <a:pt x="766" y="347"/>
                    </a:lnTo>
                    <a:lnTo>
                      <a:pt x="778" y="343"/>
                    </a:lnTo>
                    <a:lnTo>
                      <a:pt x="782" y="335"/>
                    </a:lnTo>
                    <a:lnTo>
                      <a:pt x="790" y="318"/>
                    </a:lnTo>
                    <a:lnTo>
                      <a:pt x="803" y="310"/>
                    </a:lnTo>
                    <a:lnTo>
                      <a:pt x="807" y="302"/>
                    </a:lnTo>
                    <a:lnTo>
                      <a:pt x="819" y="298"/>
                    </a:lnTo>
                    <a:lnTo>
                      <a:pt x="831" y="294"/>
                    </a:lnTo>
                    <a:lnTo>
                      <a:pt x="839" y="282"/>
                    </a:lnTo>
                    <a:lnTo>
                      <a:pt x="855" y="282"/>
                    </a:lnTo>
                    <a:lnTo>
                      <a:pt x="883" y="274"/>
                    </a:lnTo>
                    <a:lnTo>
                      <a:pt x="911" y="274"/>
                    </a:lnTo>
                    <a:lnTo>
                      <a:pt x="924" y="282"/>
                    </a:lnTo>
                    <a:lnTo>
                      <a:pt x="936" y="286"/>
                    </a:lnTo>
                    <a:lnTo>
                      <a:pt x="944" y="310"/>
                    </a:lnTo>
                    <a:lnTo>
                      <a:pt x="948" y="33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53" name="Freeform 69"/>
              <p:cNvSpPr>
                <a:spLocks/>
              </p:cNvSpPr>
              <p:nvPr/>
            </p:nvSpPr>
            <p:spPr bwMode="auto">
              <a:xfrm>
                <a:off x="2677421" y="1460402"/>
                <a:ext cx="652463" cy="745840"/>
              </a:xfrm>
              <a:custGeom>
                <a:avLst/>
                <a:gdLst>
                  <a:gd name="T0" fmla="*/ 2147483647 w 726"/>
                  <a:gd name="T1" fmla="*/ 2147483647 h 839"/>
                  <a:gd name="T2" fmla="*/ 2147483647 w 726"/>
                  <a:gd name="T3" fmla="*/ 2147483647 h 839"/>
                  <a:gd name="T4" fmla="*/ 2147483647 w 726"/>
                  <a:gd name="T5" fmla="*/ 2147483647 h 839"/>
                  <a:gd name="T6" fmla="*/ 2147483647 w 726"/>
                  <a:gd name="T7" fmla="*/ 2147483647 h 839"/>
                  <a:gd name="T8" fmla="*/ 2147483647 w 726"/>
                  <a:gd name="T9" fmla="*/ 2147483647 h 839"/>
                  <a:gd name="T10" fmla="*/ 2147483647 w 726"/>
                  <a:gd name="T11" fmla="*/ 2147483647 h 839"/>
                  <a:gd name="T12" fmla="*/ 2147483647 w 726"/>
                  <a:gd name="T13" fmla="*/ 2147483647 h 839"/>
                  <a:gd name="T14" fmla="*/ 2147483647 w 726"/>
                  <a:gd name="T15" fmla="*/ 2147483647 h 839"/>
                  <a:gd name="T16" fmla="*/ 2147483647 w 726"/>
                  <a:gd name="T17" fmla="*/ 2147483647 h 839"/>
                  <a:gd name="T18" fmla="*/ 2147483647 w 726"/>
                  <a:gd name="T19" fmla="*/ 2147483647 h 839"/>
                  <a:gd name="T20" fmla="*/ 2147483647 w 726"/>
                  <a:gd name="T21" fmla="*/ 2147483647 h 839"/>
                  <a:gd name="T22" fmla="*/ 2147483647 w 726"/>
                  <a:gd name="T23" fmla="*/ 2147483647 h 839"/>
                  <a:gd name="T24" fmla="*/ 0 w 726"/>
                  <a:gd name="T25" fmla="*/ 2147483647 h 839"/>
                  <a:gd name="T26" fmla="*/ 2147483647 w 726"/>
                  <a:gd name="T27" fmla="*/ 2147483647 h 839"/>
                  <a:gd name="T28" fmla="*/ 2147483647 w 726"/>
                  <a:gd name="T29" fmla="*/ 2147483647 h 839"/>
                  <a:gd name="T30" fmla="*/ 2147483647 w 726"/>
                  <a:gd name="T31" fmla="*/ 2147483647 h 839"/>
                  <a:gd name="T32" fmla="*/ 2147483647 w 726"/>
                  <a:gd name="T33" fmla="*/ 2147483647 h 839"/>
                  <a:gd name="T34" fmla="*/ 2147483647 w 726"/>
                  <a:gd name="T35" fmla="*/ 2147483647 h 839"/>
                  <a:gd name="T36" fmla="*/ 2147483647 w 726"/>
                  <a:gd name="T37" fmla="*/ 2147483647 h 839"/>
                  <a:gd name="T38" fmla="*/ 2147483647 w 726"/>
                  <a:gd name="T39" fmla="*/ 2147483647 h 839"/>
                  <a:gd name="T40" fmla="*/ 2147483647 w 726"/>
                  <a:gd name="T41" fmla="*/ 2147483647 h 839"/>
                  <a:gd name="T42" fmla="*/ 2147483647 w 726"/>
                  <a:gd name="T43" fmla="*/ 2147483647 h 839"/>
                  <a:gd name="T44" fmla="*/ 2147483647 w 726"/>
                  <a:gd name="T45" fmla="*/ 2147483647 h 839"/>
                  <a:gd name="T46" fmla="*/ 2147483647 w 726"/>
                  <a:gd name="T47" fmla="*/ 2147483647 h 839"/>
                  <a:gd name="T48" fmla="*/ 2147483647 w 726"/>
                  <a:gd name="T49" fmla="*/ 2147483647 h 839"/>
                  <a:gd name="T50" fmla="*/ 2147483647 w 726"/>
                  <a:gd name="T51" fmla="*/ 2147483647 h 839"/>
                  <a:gd name="T52" fmla="*/ 2147483647 w 726"/>
                  <a:gd name="T53" fmla="*/ 0 h 839"/>
                  <a:gd name="T54" fmla="*/ 2147483647 w 726"/>
                  <a:gd name="T55" fmla="*/ 2147483647 h 839"/>
                  <a:gd name="T56" fmla="*/ 2147483647 w 726"/>
                  <a:gd name="T57" fmla="*/ 2147483647 h 839"/>
                  <a:gd name="T58" fmla="*/ 2147483647 w 726"/>
                  <a:gd name="T59" fmla="*/ 2147483647 h 839"/>
                  <a:gd name="T60" fmla="*/ 2147483647 w 726"/>
                  <a:gd name="T61" fmla="*/ 2147483647 h 839"/>
                  <a:gd name="T62" fmla="*/ 2147483647 w 726"/>
                  <a:gd name="T63" fmla="*/ 2147483647 h 839"/>
                  <a:gd name="T64" fmla="*/ 2147483647 w 726"/>
                  <a:gd name="T65" fmla="*/ 2147483647 h 839"/>
                  <a:gd name="T66" fmla="*/ 2147483647 w 726"/>
                  <a:gd name="T67" fmla="*/ 2147483647 h 839"/>
                  <a:gd name="T68" fmla="*/ 2147483647 w 726"/>
                  <a:gd name="T69" fmla="*/ 2147483647 h 839"/>
                  <a:gd name="T70" fmla="*/ 2147483647 w 726"/>
                  <a:gd name="T71" fmla="*/ 2147483647 h 839"/>
                  <a:gd name="T72" fmla="*/ 2147483647 w 726"/>
                  <a:gd name="T73" fmla="*/ 2147483647 h 839"/>
                  <a:gd name="T74" fmla="*/ 2147483647 w 726"/>
                  <a:gd name="T75" fmla="*/ 2147483647 h 839"/>
                  <a:gd name="T76" fmla="*/ 2147483647 w 726"/>
                  <a:gd name="T77" fmla="*/ 2147483647 h 839"/>
                  <a:gd name="T78" fmla="*/ 2147483647 w 726"/>
                  <a:gd name="T79" fmla="*/ 2147483647 h 839"/>
                  <a:gd name="T80" fmla="*/ 2147483647 w 726"/>
                  <a:gd name="T81" fmla="*/ 2147483647 h 839"/>
                  <a:gd name="T82" fmla="*/ 2147483647 w 726"/>
                  <a:gd name="T83" fmla="*/ 2147483647 h 839"/>
                  <a:gd name="T84" fmla="*/ 2147483647 w 726"/>
                  <a:gd name="T85" fmla="*/ 2147483647 h 839"/>
                  <a:gd name="T86" fmla="*/ 2147483647 w 726"/>
                  <a:gd name="T87" fmla="*/ 2147483647 h 839"/>
                  <a:gd name="T88" fmla="*/ 2147483647 w 726"/>
                  <a:gd name="T89" fmla="*/ 2147483647 h 839"/>
                  <a:gd name="T90" fmla="*/ 2147483647 w 726"/>
                  <a:gd name="T91" fmla="*/ 2147483647 h 839"/>
                  <a:gd name="T92" fmla="*/ 2147483647 w 726"/>
                  <a:gd name="T93" fmla="*/ 2147483647 h 839"/>
                  <a:gd name="T94" fmla="*/ 2147483647 w 726"/>
                  <a:gd name="T95" fmla="*/ 2147483647 h 839"/>
                  <a:gd name="T96" fmla="*/ 2147483647 w 726"/>
                  <a:gd name="T97" fmla="*/ 2147483647 h 839"/>
                  <a:gd name="T98" fmla="*/ 2147483647 w 726"/>
                  <a:gd name="T99" fmla="*/ 2147483647 h 839"/>
                  <a:gd name="T100" fmla="*/ 2147483647 w 726"/>
                  <a:gd name="T101" fmla="*/ 2147483647 h 83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726"/>
                  <a:gd name="T154" fmla="*/ 0 h 839"/>
                  <a:gd name="T155" fmla="*/ 726 w 726"/>
                  <a:gd name="T156" fmla="*/ 839 h 83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726" h="839">
                    <a:moveTo>
                      <a:pt x="504" y="839"/>
                    </a:moveTo>
                    <a:lnTo>
                      <a:pt x="480" y="831"/>
                    </a:lnTo>
                    <a:lnTo>
                      <a:pt x="452" y="819"/>
                    </a:lnTo>
                    <a:lnTo>
                      <a:pt x="439" y="811"/>
                    </a:lnTo>
                    <a:lnTo>
                      <a:pt x="431" y="799"/>
                    </a:lnTo>
                    <a:lnTo>
                      <a:pt x="431" y="779"/>
                    </a:lnTo>
                    <a:lnTo>
                      <a:pt x="427" y="759"/>
                    </a:lnTo>
                    <a:lnTo>
                      <a:pt x="411" y="722"/>
                    </a:lnTo>
                    <a:lnTo>
                      <a:pt x="395" y="698"/>
                    </a:lnTo>
                    <a:lnTo>
                      <a:pt x="387" y="686"/>
                    </a:lnTo>
                    <a:lnTo>
                      <a:pt x="383" y="678"/>
                    </a:lnTo>
                    <a:lnTo>
                      <a:pt x="383" y="650"/>
                    </a:lnTo>
                    <a:lnTo>
                      <a:pt x="383" y="625"/>
                    </a:lnTo>
                    <a:lnTo>
                      <a:pt x="375" y="613"/>
                    </a:lnTo>
                    <a:lnTo>
                      <a:pt x="367" y="605"/>
                    </a:lnTo>
                    <a:lnTo>
                      <a:pt x="355" y="605"/>
                    </a:lnTo>
                    <a:lnTo>
                      <a:pt x="347" y="605"/>
                    </a:lnTo>
                    <a:lnTo>
                      <a:pt x="335" y="613"/>
                    </a:lnTo>
                    <a:lnTo>
                      <a:pt x="318" y="625"/>
                    </a:lnTo>
                    <a:lnTo>
                      <a:pt x="314" y="625"/>
                    </a:lnTo>
                    <a:lnTo>
                      <a:pt x="306" y="638"/>
                    </a:lnTo>
                    <a:lnTo>
                      <a:pt x="298" y="642"/>
                    </a:lnTo>
                    <a:lnTo>
                      <a:pt x="290" y="646"/>
                    </a:lnTo>
                    <a:lnTo>
                      <a:pt x="254" y="642"/>
                    </a:lnTo>
                    <a:lnTo>
                      <a:pt x="210" y="642"/>
                    </a:lnTo>
                    <a:lnTo>
                      <a:pt x="205" y="642"/>
                    </a:lnTo>
                    <a:lnTo>
                      <a:pt x="205" y="638"/>
                    </a:lnTo>
                    <a:lnTo>
                      <a:pt x="201" y="633"/>
                    </a:lnTo>
                    <a:lnTo>
                      <a:pt x="201" y="625"/>
                    </a:lnTo>
                    <a:lnTo>
                      <a:pt x="185" y="609"/>
                    </a:lnTo>
                    <a:lnTo>
                      <a:pt x="177" y="597"/>
                    </a:lnTo>
                    <a:lnTo>
                      <a:pt x="161" y="573"/>
                    </a:lnTo>
                    <a:lnTo>
                      <a:pt x="149" y="549"/>
                    </a:lnTo>
                    <a:lnTo>
                      <a:pt x="153" y="500"/>
                    </a:lnTo>
                    <a:lnTo>
                      <a:pt x="153" y="464"/>
                    </a:lnTo>
                    <a:lnTo>
                      <a:pt x="141" y="440"/>
                    </a:lnTo>
                    <a:lnTo>
                      <a:pt x="141" y="428"/>
                    </a:lnTo>
                    <a:lnTo>
                      <a:pt x="137" y="428"/>
                    </a:lnTo>
                    <a:lnTo>
                      <a:pt x="129" y="420"/>
                    </a:lnTo>
                    <a:lnTo>
                      <a:pt x="121" y="379"/>
                    </a:lnTo>
                    <a:lnTo>
                      <a:pt x="113" y="343"/>
                    </a:lnTo>
                    <a:lnTo>
                      <a:pt x="105" y="335"/>
                    </a:lnTo>
                    <a:lnTo>
                      <a:pt x="97" y="331"/>
                    </a:lnTo>
                    <a:lnTo>
                      <a:pt x="88" y="331"/>
                    </a:lnTo>
                    <a:lnTo>
                      <a:pt x="72" y="331"/>
                    </a:lnTo>
                    <a:lnTo>
                      <a:pt x="60" y="343"/>
                    </a:lnTo>
                    <a:lnTo>
                      <a:pt x="48" y="355"/>
                    </a:lnTo>
                    <a:lnTo>
                      <a:pt x="44" y="371"/>
                    </a:lnTo>
                    <a:lnTo>
                      <a:pt x="40" y="383"/>
                    </a:lnTo>
                    <a:lnTo>
                      <a:pt x="24" y="399"/>
                    </a:lnTo>
                    <a:lnTo>
                      <a:pt x="8" y="416"/>
                    </a:lnTo>
                    <a:lnTo>
                      <a:pt x="0" y="408"/>
                    </a:lnTo>
                    <a:lnTo>
                      <a:pt x="0" y="404"/>
                    </a:lnTo>
                    <a:lnTo>
                      <a:pt x="0" y="399"/>
                    </a:lnTo>
                    <a:lnTo>
                      <a:pt x="16" y="363"/>
                    </a:lnTo>
                    <a:lnTo>
                      <a:pt x="24" y="331"/>
                    </a:lnTo>
                    <a:lnTo>
                      <a:pt x="32" y="327"/>
                    </a:lnTo>
                    <a:lnTo>
                      <a:pt x="40" y="299"/>
                    </a:lnTo>
                    <a:lnTo>
                      <a:pt x="48" y="262"/>
                    </a:lnTo>
                    <a:lnTo>
                      <a:pt x="52" y="250"/>
                    </a:lnTo>
                    <a:lnTo>
                      <a:pt x="60" y="238"/>
                    </a:lnTo>
                    <a:lnTo>
                      <a:pt x="60" y="222"/>
                    </a:lnTo>
                    <a:lnTo>
                      <a:pt x="68" y="198"/>
                    </a:lnTo>
                    <a:lnTo>
                      <a:pt x="84" y="190"/>
                    </a:lnTo>
                    <a:lnTo>
                      <a:pt x="97" y="182"/>
                    </a:lnTo>
                    <a:lnTo>
                      <a:pt x="109" y="182"/>
                    </a:lnTo>
                    <a:lnTo>
                      <a:pt x="125" y="182"/>
                    </a:lnTo>
                    <a:lnTo>
                      <a:pt x="141" y="190"/>
                    </a:lnTo>
                    <a:lnTo>
                      <a:pt x="149" y="198"/>
                    </a:lnTo>
                    <a:lnTo>
                      <a:pt x="153" y="218"/>
                    </a:lnTo>
                    <a:lnTo>
                      <a:pt x="157" y="238"/>
                    </a:lnTo>
                    <a:lnTo>
                      <a:pt x="161" y="250"/>
                    </a:lnTo>
                    <a:lnTo>
                      <a:pt x="165" y="258"/>
                    </a:lnTo>
                    <a:lnTo>
                      <a:pt x="189" y="270"/>
                    </a:lnTo>
                    <a:lnTo>
                      <a:pt x="222" y="278"/>
                    </a:lnTo>
                    <a:lnTo>
                      <a:pt x="230" y="278"/>
                    </a:lnTo>
                    <a:lnTo>
                      <a:pt x="238" y="278"/>
                    </a:lnTo>
                    <a:lnTo>
                      <a:pt x="242" y="274"/>
                    </a:lnTo>
                    <a:lnTo>
                      <a:pt x="254" y="270"/>
                    </a:lnTo>
                    <a:lnTo>
                      <a:pt x="258" y="250"/>
                    </a:lnTo>
                    <a:lnTo>
                      <a:pt x="266" y="230"/>
                    </a:lnTo>
                    <a:lnTo>
                      <a:pt x="282" y="226"/>
                    </a:lnTo>
                    <a:lnTo>
                      <a:pt x="290" y="226"/>
                    </a:lnTo>
                    <a:lnTo>
                      <a:pt x="290" y="234"/>
                    </a:lnTo>
                    <a:lnTo>
                      <a:pt x="294" y="246"/>
                    </a:lnTo>
                    <a:lnTo>
                      <a:pt x="298" y="250"/>
                    </a:lnTo>
                    <a:lnTo>
                      <a:pt x="314" y="262"/>
                    </a:lnTo>
                    <a:lnTo>
                      <a:pt x="331" y="262"/>
                    </a:lnTo>
                    <a:lnTo>
                      <a:pt x="343" y="262"/>
                    </a:lnTo>
                    <a:lnTo>
                      <a:pt x="351" y="258"/>
                    </a:lnTo>
                    <a:lnTo>
                      <a:pt x="367" y="250"/>
                    </a:lnTo>
                    <a:lnTo>
                      <a:pt x="371" y="246"/>
                    </a:lnTo>
                    <a:lnTo>
                      <a:pt x="371" y="210"/>
                    </a:lnTo>
                    <a:lnTo>
                      <a:pt x="371" y="165"/>
                    </a:lnTo>
                    <a:lnTo>
                      <a:pt x="371" y="133"/>
                    </a:lnTo>
                    <a:lnTo>
                      <a:pt x="371" y="93"/>
                    </a:lnTo>
                    <a:lnTo>
                      <a:pt x="371" y="77"/>
                    </a:lnTo>
                    <a:lnTo>
                      <a:pt x="367" y="61"/>
                    </a:lnTo>
                    <a:lnTo>
                      <a:pt x="367" y="57"/>
                    </a:lnTo>
                    <a:lnTo>
                      <a:pt x="355" y="53"/>
                    </a:lnTo>
                    <a:lnTo>
                      <a:pt x="355" y="44"/>
                    </a:lnTo>
                    <a:lnTo>
                      <a:pt x="355" y="36"/>
                    </a:lnTo>
                    <a:lnTo>
                      <a:pt x="367" y="24"/>
                    </a:lnTo>
                    <a:lnTo>
                      <a:pt x="371" y="16"/>
                    </a:lnTo>
                    <a:lnTo>
                      <a:pt x="383" y="8"/>
                    </a:lnTo>
                    <a:lnTo>
                      <a:pt x="387" y="0"/>
                    </a:lnTo>
                    <a:lnTo>
                      <a:pt x="407" y="0"/>
                    </a:lnTo>
                    <a:lnTo>
                      <a:pt x="427" y="0"/>
                    </a:lnTo>
                    <a:lnTo>
                      <a:pt x="431" y="4"/>
                    </a:lnTo>
                    <a:lnTo>
                      <a:pt x="435" y="4"/>
                    </a:lnTo>
                    <a:lnTo>
                      <a:pt x="435" y="12"/>
                    </a:lnTo>
                    <a:lnTo>
                      <a:pt x="439" y="20"/>
                    </a:lnTo>
                    <a:lnTo>
                      <a:pt x="431" y="36"/>
                    </a:lnTo>
                    <a:lnTo>
                      <a:pt x="423" y="53"/>
                    </a:lnTo>
                    <a:lnTo>
                      <a:pt x="423" y="69"/>
                    </a:lnTo>
                    <a:lnTo>
                      <a:pt x="419" y="81"/>
                    </a:lnTo>
                    <a:lnTo>
                      <a:pt x="423" y="97"/>
                    </a:lnTo>
                    <a:lnTo>
                      <a:pt x="427" y="105"/>
                    </a:lnTo>
                    <a:lnTo>
                      <a:pt x="439" y="105"/>
                    </a:lnTo>
                    <a:lnTo>
                      <a:pt x="452" y="109"/>
                    </a:lnTo>
                    <a:lnTo>
                      <a:pt x="480" y="109"/>
                    </a:lnTo>
                    <a:lnTo>
                      <a:pt x="504" y="105"/>
                    </a:lnTo>
                    <a:lnTo>
                      <a:pt x="508" y="105"/>
                    </a:lnTo>
                    <a:lnTo>
                      <a:pt x="508" y="101"/>
                    </a:lnTo>
                    <a:lnTo>
                      <a:pt x="536" y="101"/>
                    </a:lnTo>
                    <a:lnTo>
                      <a:pt x="569" y="101"/>
                    </a:lnTo>
                    <a:lnTo>
                      <a:pt x="569" y="97"/>
                    </a:lnTo>
                    <a:lnTo>
                      <a:pt x="577" y="97"/>
                    </a:lnTo>
                    <a:lnTo>
                      <a:pt x="585" y="93"/>
                    </a:lnTo>
                    <a:lnTo>
                      <a:pt x="589" y="93"/>
                    </a:lnTo>
                    <a:lnTo>
                      <a:pt x="597" y="133"/>
                    </a:lnTo>
                    <a:lnTo>
                      <a:pt x="601" y="153"/>
                    </a:lnTo>
                    <a:lnTo>
                      <a:pt x="605" y="214"/>
                    </a:lnTo>
                    <a:lnTo>
                      <a:pt x="613" y="234"/>
                    </a:lnTo>
                    <a:lnTo>
                      <a:pt x="621" y="246"/>
                    </a:lnTo>
                    <a:lnTo>
                      <a:pt x="625" y="258"/>
                    </a:lnTo>
                    <a:lnTo>
                      <a:pt x="633" y="274"/>
                    </a:lnTo>
                    <a:lnTo>
                      <a:pt x="645" y="295"/>
                    </a:lnTo>
                    <a:lnTo>
                      <a:pt x="649" y="299"/>
                    </a:lnTo>
                    <a:lnTo>
                      <a:pt x="657" y="303"/>
                    </a:lnTo>
                    <a:lnTo>
                      <a:pt x="673" y="319"/>
                    </a:lnTo>
                    <a:lnTo>
                      <a:pt x="682" y="335"/>
                    </a:lnTo>
                    <a:lnTo>
                      <a:pt x="686" y="355"/>
                    </a:lnTo>
                    <a:lnTo>
                      <a:pt x="686" y="379"/>
                    </a:lnTo>
                    <a:lnTo>
                      <a:pt x="677" y="399"/>
                    </a:lnTo>
                    <a:lnTo>
                      <a:pt x="661" y="428"/>
                    </a:lnTo>
                    <a:lnTo>
                      <a:pt x="661" y="436"/>
                    </a:lnTo>
                    <a:lnTo>
                      <a:pt x="661" y="456"/>
                    </a:lnTo>
                    <a:lnTo>
                      <a:pt x="677" y="464"/>
                    </a:lnTo>
                    <a:lnTo>
                      <a:pt x="694" y="476"/>
                    </a:lnTo>
                    <a:lnTo>
                      <a:pt x="698" y="484"/>
                    </a:lnTo>
                    <a:lnTo>
                      <a:pt x="702" y="500"/>
                    </a:lnTo>
                    <a:lnTo>
                      <a:pt x="702" y="508"/>
                    </a:lnTo>
                    <a:lnTo>
                      <a:pt x="702" y="516"/>
                    </a:lnTo>
                    <a:lnTo>
                      <a:pt x="706" y="529"/>
                    </a:lnTo>
                    <a:lnTo>
                      <a:pt x="710" y="537"/>
                    </a:lnTo>
                    <a:lnTo>
                      <a:pt x="718" y="549"/>
                    </a:lnTo>
                    <a:lnTo>
                      <a:pt x="726" y="557"/>
                    </a:lnTo>
                    <a:lnTo>
                      <a:pt x="726" y="569"/>
                    </a:lnTo>
                    <a:lnTo>
                      <a:pt x="726" y="577"/>
                    </a:lnTo>
                    <a:lnTo>
                      <a:pt x="722" y="585"/>
                    </a:lnTo>
                    <a:lnTo>
                      <a:pt x="718" y="585"/>
                    </a:lnTo>
                    <a:lnTo>
                      <a:pt x="698" y="593"/>
                    </a:lnTo>
                    <a:lnTo>
                      <a:pt x="677" y="601"/>
                    </a:lnTo>
                    <a:lnTo>
                      <a:pt x="669" y="605"/>
                    </a:lnTo>
                    <a:lnTo>
                      <a:pt x="657" y="613"/>
                    </a:lnTo>
                    <a:lnTo>
                      <a:pt x="641" y="613"/>
                    </a:lnTo>
                    <a:lnTo>
                      <a:pt x="617" y="613"/>
                    </a:lnTo>
                    <a:lnTo>
                      <a:pt x="593" y="625"/>
                    </a:lnTo>
                    <a:lnTo>
                      <a:pt x="565" y="638"/>
                    </a:lnTo>
                    <a:lnTo>
                      <a:pt x="540" y="646"/>
                    </a:lnTo>
                    <a:lnTo>
                      <a:pt x="524" y="658"/>
                    </a:lnTo>
                    <a:lnTo>
                      <a:pt x="516" y="662"/>
                    </a:lnTo>
                    <a:lnTo>
                      <a:pt x="508" y="678"/>
                    </a:lnTo>
                    <a:lnTo>
                      <a:pt x="512" y="682"/>
                    </a:lnTo>
                    <a:lnTo>
                      <a:pt x="512" y="690"/>
                    </a:lnTo>
                    <a:lnTo>
                      <a:pt x="512" y="698"/>
                    </a:lnTo>
                    <a:lnTo>
                      <a:pt x="516" y="698"/>
                    </a:lnTo>
                    <a:lnTo>
                      <a:pt x="528" y="706"/>
                    </a:lnTo>
                    <a:lnTo>
                      <a:pt x="532" y="714"/>
                    </a:lnTo>
                    <a:lnTo>
                      <a:pt x="540" y="722"/>
                    </a:lnTo>
                    <a:lnTo>
                      <a:pt x="560" y="722"/>
                    </a:lnTo>
                    <a:lnTo>
                      <a:pt x="577" y="722"/>
                    </a:lnTo>
                    <a:lnTo>
                      <a:pt x="581" y="718"/>
                    </a:lnTo>
                    <a:lnTo>
                      <a:pt x="589" y="714"/>
                    </a:lnTo>
                    <a:lnTo>
                      <a:pt x="597" y="710"/>
                    </a:lnTo>
                    <a:lnTo>
                      <a:pt x="617" y="710"/>
                    </a:lnTo>
                    <a:lnTo>
                      <a:pt x="625" y="718"/>
                    </a:lnTo>
                    <a:lnTo>
                      <a:pt x="633" y="730"/>
                    </a:lnTo>
                    <a:lnTo>
                      <a:pt x="633" y="738"/>
                    </a:lnTo>
                    <a:lnTo>
                      <a:pt x="633" y="746"/>
                    </a:lnTo>
                    <a:lnTo>
                      <a:pt x="629" y="755"/>
                    </a:lnTo>
                    <a:lnTo>
                      <a:pt x="621" y="763"/>
                    </a:lnTo>
                    <a:lnTo>
                      <a:pt x="601" y="771"/>
                    </a:lnTo>
                    <a:lnTo>
                      <a:pt x="589" y="783"/>
                    </a:lnTo>
                    <a:lnTo>
                      <a:pt x="589" y="795"/>
                    </a:lnTo>
                    <a:lnTo>
                      <a:pt x="585" y="799"/>
                    </a:lnTo>
                    <a:lnTo>
                      <a:pt x="581" y="803"/>
                    </a:lnTo>
                    <a:lnTo>
                      <a:pt x="569" y="807"/>
                    </a:lnTo>
                    <a:lnTo>
                      <a:pt x="560" y="815"/>
                    </a:lnTo>
                    <a:lnTo>
                      <a:pt x="552" y="831"/>
                    </a:lnTo>
                    <a:lnTo>
                      <a:pt x="544" y="831"/>
                    </a:lnTo>
                    <a:lnTo>
                      <a:pt x="532" y="839"/>
                    </a:lnTo>
                    <a:lnTo>
                      <a:pt x="516" y="839"/>
                    </a:lnTo>
                    <a:lnTo>
                      <a:pt x="504" y="83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00" b="1"/>
              </a:p>
            </p:txBody>
          </p:sp>
          <p:sp>
            <p:nvSpPr>
              <p:cNvPr id="54" name="Freeform 70"/>
              <p:cNvSpPr>
                <a:spLocks/>
              </p:cNvSpPr>
              <p:nvPr/>
            </p:nvSpPr>
            <p:spPr bwMode="auto">
              <a:xfrm>
                <a:off x="3648161" y="1053432"/>
                <a:ext cx="766763" cy="955000"/>
              </a:xfrm>
              <a:custGeom>
                <a:avLst/>
                <a:gdLst>
                  <a:gd name="T0" fmla="*/ 2147483647 w 855"/>
                  <a:gd name="T1" fmla="*/ 2147483647 h 1073"/>
                  <a:gd name="T2" fmla="*/ 2147483647 w 855"/>
                  <a:gd name="T3" fmla="*/ 2147483647 h 1073"/>
                  <a:gd name="T4" fmla="*/ 2147483647 w 855"/>
                  <a:gd name="T5" fmla="*/ 2147483647 h 1073"/>
                  <a:gd name="T6" fmla="*/ 2147483647 w 855"/>
                  <a:gd name="T7" fmla="*/ 2147483647 h 1073"/>
                  <a:gd name="T8" fmla="*/ 2147483647 w 855"/>
                  <a:gd name="T9" fmla="*/ 2147483647 h 1073"/>
                  <a:gd name="T10" fmla="*/ 2147483647 w 855"/>
                  <a:gd name="T11" fmla="*/ 2147483647 h 1073"/>
                  <a:gd name="T12" fmla="*/ 2147483647 w 855"/>
                  <a:gd name="T13" fmla="*/ 2147483647 h 1073"/>
                  <a:gd name="T14" fmla="*/ 2147483647 w 855"/>
                  <a:gd name="T15" fmla="*/ 2147483647 h 1073"/>
                  <a:gd name="T16" fmla="*/ 2147483647 w 855"/>
                  <a:gd name="T17" fmla="*/ 2147483647 h 1073"/>
                  <a:gd name="T18" fmla="*/ 0 w 855"/>
                  <a:gd name="T19" fmla="*/ 2147483647 h 1073"/>
                  <a:gd name="T20" fmla="*/ 2147483647 w 855"/>
                  <a:gd name="T21" fmla="*/ 2147483647 h 1073"/>
                  <a:gd name="T22" fmla="*/ 2147483647 w 855"/>
                  <a:gd name="T23" fmla="*/ 2147483647 h 1073"/>
                  <a:gd name="T24" fmla="*/ 2147483647 w 855"/>
                  <a:gd name="T25" fmla="*/ 2147483647 h 1073"/>
                  <a:gd name="T26" fmla="*/ 2147483647 w 855"/>
                  <a:gd name="T27" fmla="*/ 2147483647 h 1073"/>
                  <a:gd name="T28" fmla="*/ 2147483647 w 855"/>
                  <a:gd name="T29" fmla="*/ 2147483647 h 1073"/>
                  <a:gd name="T30" fmla="*/ 2147483647 w 855"/>
                  <a:gd name="T31" fmla="*/ 2147483647 h 1073"/>
                  <a:gd name="T32" fmla="*/ 2147483647 w 855"/>
                  <a:gd name="T33" fmla="*/ 2147483647 h 1073"/>
                  <a:gd name="T34" fmla="*/ 2147483647 w 855"/>
                  <a:gd name="T35" fmla="*/ 2147483647 h 1073"/>
                  <a:gd name="T36" fmla="*/ 2147483647 w 855"/>
                  <a:gd name="T37" fmla="*/ 2147483647 h 1073"/>
                  <a:gd name="T38" fmla="*/ 2147483647 w 855"/>
                  <a:gd name="T39" fmla="*/ 2147483647 h 1073"/>
                  <a:gd name="T40" fmla="*/ 2147483647 w 855"/>
                  <a:gd name="T41" fmla="*/ 2147483647 h 1073"/>
                  <a:gd name="T42" fmla="*/ 2147483647 w 855"/>
                  <a:gd name="T43" fmla="*/ 2147483647 h 1073"/>
                  <a:gd name="T44" fmla="*/ 2147483647 w 855"/>
                  <a:gd name="T45" fmla="*/ 2147483647 h 1073"/>
                  <a:gd name="T46" fmla="*/ 2147483647 w 855"/>
                  <a:gd name="T47" fmla="*/ 2147483647 h 1073"/>
                  <a:gd name="T48" fmla="*/ 2147483647 w 855"/>
                  <a:gd name="T49" fmla="*/ 2147483647 h 1073"/>
                  <a:gd name="T50" fmla="*/ 2147483647 w 855"/>
                  <a:gd name="T51" fmla="*/ 2147483647 h 1073"/>
                  <a:gd name="T52" fmla="*/ 2147483647 w 855"/>
                  <a:gd name="T53" fmla="*/ 2147483647 h 1073"/>
                  <a:gd name="T54" fmla="*/ 2147483647 w 855"/>
                  <a:gd name="T55" fmla="*/ 2147483647 h 1073"/>
                  <a:gd name="T56" fmla="*/ 2147483647 w 855"/>
                  <a:gd name="T57" fmla="*/ 2147483647 h 1073"/>
                  <a:gd name="T58" fmla="*/ 2147483647 w 855"/>
                  <a:gd name="T59" fmla="*/ 2147483647 h 1073"/>
                  <a:gd name="T60" fmla="*/ 2147483647 w 855"/>
                  <a:gd name="T61" fmla="*/ 2147483647 h 1073"/>
                  <a:gd name="T62" fmla="*/ 2147483647 w 855"/>
                  <a:gd name="T63" fmla="*/ 2147483647 h 1073"/>
                  <a:gd name="T64" fmla="*/ 2147483647 w 855"/>
                  <a:gd name="T65" fmla="*/ 2147483647 h 1073"/>
                  <a:gd name="T66" fmla="*/ 2147483647 w 855"/>
                  <a:gd name="T67" fmla="*/ 2147483647 h 1073"/>
                  <a:gd name="T68" fmla="*/ 2147483647 w 855"/>
                  <a:gd name="T69" fmla="*/ 2147483647 h 1073"/>
                  <a:gd name="T70" fmla="*/ 2147483647 w 855"/>
                  <a:gd name="T71" fmla="*/ 2147483647 h 1073"/>
                  <a:gd name="T72" fmla="*/ 2147483647 w 855"/>
                  <a:gd name="T73" fmla="*/ 2147483647 h 1073"/>
                  <a:gd name="T74" fmla="*/ 2147483647 w 855"/>
                  <a:gd name="T75" fmla="*/ 2147483647 h 1073"/>
                  <a:gd name="T76" fmla="*/ 2147483647 w 855"/>
                  <a:gd name="T77" fmla="*/ 2147483647 h 1073"/>
                  <a:gd name="T78" fmla="*/ 2147483647 w 855"/>
                  <a:gd name="T79" fmla="*/ 2147483647 h 1073"/>
                  <a:gd name="T80" fmla="*/ 2147483647 w 855"/>
                  <a:gd name="T81" fmla="*/ 2147483647 h 1073"/>
                  <a:gd name="T82" fmla="*/ 2147483647 w 855"/>
                  <a:gd name="T83" fmla="*/ 2147483647 h 1073"/>
                  <a:gd name="T84" fmla="*/ 2147483647 w 855"/>
                  <a:gd name="T85" fmla="*/ 2147483647 h 1073"/>
                  <a:gd name="T86" fmla="*/ 2147483647 w 855"/>
                  <a:gd name="T87" fmla="*/ 2147483647 h 1073"/>
                  <a:gd name="T88" fmla="*/ 2147483647 w 855"/>
                  <a:gd name="T89" fmla="*/ 2147483647 h 1073"/>
                  <a:gd name="T90" fmla="*/ 2147483647 w 855"/>
                  <a:gd name="T91" fmla="*/ 2147483647 h 1073"/>
                  <a:gd name="T92" fmla="*/ 2147483647 w 855"/>
                  <a:gd name="T93" fmla="*/ 2147483647 h 1073"/>
                  <a:gd name="T94" fmla="*/ 2147483647 w 855"/>
                  <a:gd name="T95" fmla="*/ 2147483647 h 1073"/>
                  <a:gd name="T96" fmla="*/ 2147483647 w 855"/>
                  <a:gd name="T97" fmla="*/ 2147483647 h 1073"/>
                  <a:gd name="T98" fmla="*/ 2147483647 w 855"/>
                  <a:gd name="T99" fmla="*/ 2147483647 h 1073"/>
                  <a:gd name="T100" fmla="*/ 2147483647 w 855"/>
                  <a:gd name="T101" fmla="*/ 2147483647 h 1073"/>
                  <a:gd name="T102" fmla="*/ 2147483647 w 855"/>
                  <a:gd name="T103" fmla="*/ 2147483647 h 1073"/>
                  <a:gd name="T104" fmla="*/ 2147483647 w 855"/>
                  <a:gd name="T105" fmla="*/ 2147483647 h 1073"/>
                  <a:gd name="T106" fmla="*/ 2147483647 w 855"/>
                  <a:gd name="T107" fmla="*/ 2147483647 h 1073"/>
                  <a:gd name="T108" fmla="*/ 2147483647 w 855"/>
                  <a:gd name="T109" fmla="*/ 2147483647 h 1073"/>
                  <a:gd name="T110" fmla="*/ 2147483647 w 855"/>
                  <a:gd name="T111" fmla="*/ 2147483647 h 1073"/>
                  <a:gd name="T112" fmla="*/ 2147483647 w 855"/>
                  <a:gd name="T113" fmla="*/ 2147483647 h 107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855"/>
                  <a:gd name="T172" fmla="*/ 0 h 1073"/>
                  <a:gd name="T173" fmla="*/ 855 w 855"/>
                  <a:gd name="T174" fmla="*/ 1073 h 107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855" h="1073">
                    <a:moveTo>
                      <a:pt x="419" y="1073"/>
                    </a:moveTo>
                    <a:lnTo>
                      <a:pt x="411" y="1065"/>
                    </a:lnTo>
                    <a:lnTo>
                      <a:pt x="399" y="1057"/>
                    </a:lnTo>
                    <a:lnTo>
                      <a:pt x="399" y="1045"/>
                    </a:lnTo>
                    <a:lnTo>
                      <a:pt x="391" y="1037"/>
                    </a:lnTo>
                    <a:lnTo>
                      <a:pt x="371" y="1029"/>
                    </a:lnTo>
                    <a:lnTo>
                      <a:pt x="339" y="1013"/>
                    </a:lnTo>
                    <a:lnTo>
                      <a:pt x="327" y="1013"/>
                    </a:lnTo>
                    <a:lnTo>
                      <a:pt x="311" y="1013"/>
                    </a:lnTo>
                    <a:lnTo>
                      <a:pt x="302" y="1009"/>
                    </a:lnTo>
                    <a:lnTo>
                      <a:pt x="298" y="997"/>
                    </a:lnTo>
                    <a:lnTo>
                      <a:pt x="294" y="993"/>
                    </a:lnTo>
                    <a:lnTo>
                      <a:pt x="290" y="977"/>
                    </a:lnTo>
                    <a:lnTo>
                      <a:pt x="278" y="968"/>
                    </a:lnTo>
                    <a:lnTo>
                      <a:pt x="274" y="960"/>
                    </a:lnTo>
                    <a:lnTo>
                      <a:pt x="270" y="936"/>
                    </a:lnTo>
                    <a:lnTo>
                      <a:pt x="270" y="916"/>
                    </a:lnTo>
                    <a:lnTo>
                      <a:pt x="254" y="904"/>
                    </a:lnTo>
                    <a:lnTo>
                      <a:pt x="242" y="888"/>
                    </a:lnTo>
                    <a:lnTo>
                      <a:pt x="226" y="888"/>
                    </a:lnTo>
                    <a:lnTo>
                      <a:pt x="210" y="884"/>
                    </a:lnTo>
                    <a:lnTo>
                      <a:pt x="173" y="884"/>
                    </a:lnTo>
                    <a:lnTo>
                      <a:pt x="137" y="884"/>
                    </a:lnTo>
                    <a:lnTo>
                      <a:pt x="129" y="880"/>
                    </a:lnTo>
                    <a:lnTo>
                      <a:pt x="109" y="876"/>
                    </a:lnTo>
                    <a:lnTo>
                      <a:pt x="109" y="872"/>
                    </a:lnTo>
                    <a:lnTo>
                      <a:pt x="105" y="872"/>
                    </a:lnTo>
                    <a:lnTo>
                      <a:pt x="93" y="851"/>
                    </a:lnTo>
                    <a:lnTo>
                      <a:pt x="81" y="823"/>
                    </a:lnTo>
                    <a:lnTo>
                      <a:pt x="72" y="811"/>
                    </a:lnTo>
                    <a:lnTo>
                      <a:pt x="56" y="795"/>
                    </a:lnTo>
                    <a:lnTo>
                      <a:pt x="48" y="795"/>
                    </a:lnTo>
                    <a:lnTo>
                      <a:pt x="40" y="795"/>
                    </a:lnTo>
                    <a:lnTo>
                      <a:pt x="28" y="799"/>
                    </a:lnTo>
                    <a:lnTo>
                      <a:pt x="24" y="811"/>
                    </a:lnTo>
                    <a:lnTo>
                      <a:pt x="16" y="811"/>
                    </a:lnTo>
                    <a:lnTo>
                      <a:pt x="12" y="811"/>
                    </a:lnTo>
                    <a:lnTo>
                      <a:pt x="4" y="799"/>
                    </a:lnTo>
                    <a:lnTo>
                      <a:pt x="0" y="795"/>
                    </a:lnTo>
                    <a:lnTo>
                      <a:pt x="0" y="779"/>
                    </a:lnTo>
                    <a:lnTo>
                      <a:pt x="0" y="767"/>
                    </a:lnTo>
                    <a:lnTo>
                      <a:pt x="12" y="763"/>
                    </a:lnTo>
                    <a:lnTo>
                      <a:pt x="24" y="755"/>
                    </a:lnTo>
                    <a:lnTo>
                      <a:pt x="44" y="751"/>
                    </a:lnTo>
                    <a:lnTo>
                      <a:pt x="64" y="743"/>
                    </a:lnTo>
                    <a:lnTo>
                      <a:pt x="81" y="743"/>
                    </a:lnTo>
                    <a:lnTo>
                      <a:pt x="97" y="738"/>
                    </a:lnTo>
                    <a:lnTo>
                      <a:pt x="109" y="726"/>
                    </a:lnTo>
                    <a:lnTo>
                      <a:pt x="125" y="706"/>
                    </a:lnTo>
                    <a:lnTo>
                      <a:pt x="129" y="702"/>
                    </a:lnTo>
                    <a:lnTo>
                      <a:pt x="129" y="690"/>
                    </a:lnTo>
                    <a:lnTo>
                      <a:pt x="133" y="662"/>
                    </a:lnTo>
                    <a:lnTo>
                      <a:pt x="137" y="630"/>
                    </a:lnTo>
                    <a:lnTo>
                      <a:pt x="145" y="621"/>
                    </a:lnTo>
                    <a:lnTo>
                      <a:pt x="157" y="617"/>
                    </a:lnTo>
                    <a:lnTo>
                      <a:pt x="161" y="589"/>
                    </a:lnTo>
                    <a:lnTo>
                      <a:pt x="161" y="569"/>
                    </a:lnTo>
                    <a:lnTo>
                      <a:pt x="161" y="545"/>
                    </a:lnTo>
                    <a:lnTo>
                      <a:pt x="157" y="525"/>
                    </a:lnTo>
                    <a:lnTo>
                      <a:pt x="153" y="521"/>
                    </a:lnTo>
                    <a:lnTo>
                      <a:pt x="145" y="517"/>
                    </a:lnTo>
                    <a:lnTo>
                      <a:pt x="145" y="504"/>
                    </a:lnTo>
                    <a:lnTo>
                      <a:pt x="141" y="484"/>
                    </a:lnTo>
                    <a:lnTo>
                      <a:pt x="141" y="476"/>
                    </a:lnTo>
                    <a:lnTo>
                      <a:pt x="141" y="464"/>
                    </a:lnTo>
                    <a:lnTo>
                      <a:pt x="145" y="444"/>
                    </a:lnTo>
                    <a:lnTo>
                      <a:pt x="145" y="428"/>
                    </a:lnTo>
                    <a:lnTo>
                      <a:pt x="157" y="416"/>
                    </a:lnTo>
                    <a:lnTo>
                      <a:pt x="161" y="404"/>
                    </a:lnTo>
                    <a:lnTo>
                      <a:pt x="177" y="387"/>
                    </a:lnTo>
                    <a:lnTo>
                      <a:pt x="198" y="371"/>
                    </a:lnTo>
                    <a:lnTo>
                      <a:pt x="214" y="367"/>
                    </a:lnTo>
                    <a:lnTo>
                      <a:pt x="234" y="363"/>
                    </a:lnTo>
                    <a:lnTo>
                      <a:pt x="242" y="355"/>
                    </a:lnTo>
                    <a:lnTo>
                      <a:pt x="246" y="351"/>
                    </a:lnTo>
                    <a:lnTo>
                      <a:pt x="270" y="347"/>
                    </a:lnTo>
                    <a:lnTo>
                      <a:pt x="294" y="339"/>
                    </a:lnTo>
                    <a:lnTo>
                      <a:pt x="302" y="327"/>
                    </a:lnTo>
                    <a:lnTo>
                      <a:pt x="311" y="311"/>
                    </a:lnTo>
                    <a:lnTo>
                      <a:pt x="319" y="311"/>
                    </a:lnTo>
                    <a:lnTo>
                      <a:pt x="323" y="307"/>
                    </a:lnTo>
                    <a:lnTo>
                      <a:pt x="327" y="291"/>
                    </a:lnTo>
                    <a:lnTo>
                      <a:pt x="331" y="266"/>
                    </a:lnTo>
                    <a:lnTo>
                      <a:pt x="347" y="262"/>
                    </a:lnTo>
                    <a:lnTo>
                      <a:pt x="355" y="254"/>
                    </a:lnTo>
                    <a:lnTo>
                      <a:pt x="359" y="250"/>
                    </a:lnTo>
                    <a:lnTo>
                      <a:pt x="363" y="238"/>
                    </a:lnTo>
                    <a:lnTo>
                      <a:pt x="363" y="230"/>
                    </a:lnTo>
                    <a:lnTo>
                      <a:pt x="363" y="222"/>
                    </a:lnTo>
                    <a:lnTo>
                      <a:pt x="359" y="214"/>
                    </a:lnTo>
                    <a:lnTo>
                      <a:pt x="351" y="202"/>
                    </a:lnTo>
                    <a:lnTo>
                      <a:pt x="335" y="202"/>
                    </a:lnTo>
                    <a:lnTo>
                      <a:pt x="319" y="202"/>
                    </a:lnTo>
                    <a:lnTo>
                      <a:pt x="306" y="194"/>
                    </a:lnTo>
                    <a:lnTo>
                      <a:pt x="294" y="186"/>
                    </a:lnTo>
                    <a:lnTo>
                      <a:pt x="270" y="186"/>
                    </a:lnTo>
                    <a:lnTo>
                      <a:pt x="250" y="186"/>
                    </a:lnTo>
                    <a:lnTo>
                      <a:pt x="226" y="178"/>
                    </a:lnTo>
                    <a:lnTo>
                      <a:pt x="198" y="170"/>
                    </a:lnTo>
                    <a:lnTo>
                      <a:pt x="198" y="166"/>
                    </a:lnTo>
                    <a:lnTo>
                      <a:pt x="194" y="166"/>
                    </a:lnTo>
                    <a:lnTo>
                      <a:pt x="189" y="153"/>
                    </a:lnTo>
                    <a:lnTo>
                      <a:pt x="194" y="145"/>
                    </a:lnTo>
                    <a:lnTo>
                      <a:pt x="226" y="141"/>
                    </a:lnTo>
                    <a:lnTo>
                      <a:pt x="262" y="137"/>
                    </a:lnTo>
                    <a:lnTo>
                      <a:pt x="278" y="117"/>
                    </a:lnTo>
                    <a:lnTo>
                      <a:pt x="294" y="101"/>
                    </a:lnTo>
                    <a:lnTo>
                      <a:pt x="294" y="93"/>
                    </a:lnTo>
                    <a:lnTo>
                      <a:pt x="298" y="81"/>
                    </a:lnTo>
                    <a:lnTo>
                      <a:pt x="302" y="69"/>
                    </a:lnTo>
                    <a:lnTo>
                      <a:pt x="311" y="57"/>
                    </a:lnTo>
                    <a:lnTo>
                      <a:pt x="319" y="57"/>
                    </a:lnTo>
                    <a:lnTo>
                      <a:pt x="327" y="53"/>
                    </a:lnTo>
                    <a:lnTo>
                      <a:pt x="335" y="53"/>
                    </a:lnTo>
                    <a:lnTo>
                      <a:pt x="351" y="53"/>
                    </a:lnTo>
                    <a:lnTo>
                      <a:pt x="363" y="57"/>
                    </a:lnTo>
                    <a:lnTo>
                      <a:pt x="371" y="65"/>
                    </a:lnTo>
                    <a:lnTo>
                      <a:pt x="375" y="73"/>
                    </a:lnTo>
                    <a:lnTo>
                      <a:pt x="387" y="85"/>
                    </a:lnTo>
                    <a:lnTo>
                      <a:pt x="444" y="85"/>
                    </a:lnTo>
                    <a:lnTo>
                      <a:pt x="496" y="93"/>
                    </a:lnTo>
                    <a:lnTo>
                      <a:pt x="500" y="85"/>
                    </a:lnTo>
                    <a:lnTo>
                      <a:pt x="508" y="81"/>
                    </a:lnTo>
                    <a:lnTo>
                      <a:pt x="516" y="81"/>
                    </a:lnTo>
                    <a:lnTo>
                      <a:pt x="520" y="69"/>
                    </a:lnTo>
                    <a:lnTo>
                      <a:pt x="520" y="65"/>
                    </a:lnTo>
                    <a:lnTo>
                      <a:pt x="520" y="57"/>
                    </a:lnTo>
                    <a:lnTo>
                      <a:pt x="520" y="45"/>
                    </a:lnTo>
                    <a:lnTo>
                      <a:pt x="516" y="32"/>
                    </a:lnTo>
                    <a:lnTo>
                      <a:pt x="504" y="32"/>
                    </a:lnTo>
                    <a:lnTo>
                      <a:pt x="500" y="28"/>
                    </a:lnTo>
                    <a:lnTo>
                      <a:pt x="496" y="16"/>
                    </a:lnTo>
                    <a:lnTo>
                      <a:pt x="500" y="0"/>
                    </a:lnTo>
                    <a:lnTo>
                      <a:pt x="520" y="4"/>
                    </a:lnTo>
                    <a:lnTo>
                      <a:pt x="553" y="12"/>
                    </a:lnTo>
                    <a:lnTo>
                      <a:pt x="557" y="12"/>
                    </a:lnTo>
                    <a:lnTo>
                      <a:pt x="565" y="16"/>
                    </a:lnTo>
                    <a:lnTo>
                      <a:pt x="569" y="45"/>
                    </a:lnTo>
                    <a:lnTo>
                      <a:pt x="577" y="73"/>
                    </a:lnTo>
                    <a:lnTo>
                      <a:pt x="585" y="85"/>
                    </a:lnTo>
                    <a:lnTo>
                      <a:pt x="609" y="117"/>
                    </a:lnTo>
                    <a:lnTo>
                      <a:pt x="621" y="117"/>
                    </a:lnTo>
                    <a:lnTo>
                      <a:pt x="641" y="121"/>
                    </a:lnTo>
                    <a:lnTo>
                      <a:pt x="645" y="129"/>
                    </a:lnTo>
                    <a:lnTo>
                      <a:pt x="649" y="158"/>
                    </a:lnTo>
                    <a:lnTo>
                      <a:pt x="649" y="206"/>
                    </a:lnTo>
                    <a:lnTo>
                      <a:pt x="657" y="210"/>
                    </a:lnTo>
                    <a:lnTo>
                      <a:pt x="661" y="214"/>
                    </a:lnTo>
                    <a:lnTo>
                      <a:pt x="666" y="214"/>
                    </a:lnTo>
                    <a:lnTo>
                      <a:pt x="674" y="214"/>
                    </a:lnTo>
                    <a:lnTo>
                      <a:pt x="682" y="214"/>
                    </a:lnTo>
                    <a:lnTo>
                      <a:pt x="682" y="210"/>
                    </a:lnTo>
                    <a:lnTo>
                      <a:pt x="690" y="214"/>
                    </a:lnTo>
                    <a:lnTo>
                      <a:pt x="694" y="214"/>
                    </a:lnTo>
                    <a:lnTo>
                      <a:pt x="686" y="230"/>
                    </a:lnTo>
                    <a:lnTo>
                      <a:pt x="682" y="254"/>
                    </a:lnTo>
                    <a:lnTo>
                      <a:pt x="682" y="279"/>
                    </a:lnTo>
                    <a:lnTo>
                      <a:pt x="686" y="303"/>
                    </a:lnTo>
                    <a:lnTo>
                      <a:pt x="694" y="311"/>
                    </a:lnTo>
                    <a:lnTo>
                      <a:pt x="702" y="315"/>
                    </a:lnTo>
                    <a:lnTo>
                      <a:pt x="726" y="327"/>
                    </a:lnTo>
                    <a:lnTo>
                      <a:pt x="750" y="339"/>
                    </a:lnTo>
                    <a:lnTo>
                      <a:pt x="754" y="343"/>
                    </a:lnTo>
                    <a:lnTo>
                      <a:pt x="762" y="351"/>
                    </a:lnTo>
                    <a:lnTo>
                      <a:pt x="770" y="351"/>
                    </a:lnTo>
                    <a:lnTo>
                      <a:pt x="774" y="351"/>
                    </a:lnTo>
                    <a:lnTo>
                      <a:pt x="778" y="367"/>
                    </a:lnTo>
                    <a:lnTo>
                      <a:pt x="778" y="379"/>
                    </a:lnTo>
                    <a:lnTo>
                      <a:pt x="774" y="400"/>
                    </a:lnTo>
                    <a:lnTo>
                      <a:pt x="762" y="412"/>
                    </a:lnTo>
                    <a:lnTo>
                      <a:pt x="758" y="420"/>
                    </a:lnTo>
                    <a:lnTo>
                      <a:pt x="754" y="428"/>
                    </a:lnTo>
                    <a:lnTo>
                      <a:pt x="754" y="460"/>
                    </a:lnTo>
                    <a:lnTo>
                      <a:pt x="754" y="488"/>
                    </a:lnTo>
                    <a:lnTo>
                      <a:pt x="754" y="500"/>
                    </a:lnTo>
                    <a:lnTo>
                      <a:pt x="758" y="509"/>
                    </a:lnTo>
                    <a:lnTo>
                      <a:pt x="787" y="533"/>
                    </a:lnTo>
                    <a:lnTo>
                      <a:pt x="803" y="557"/>
                    </a:lnTo>
                    <a:lnTo>
                      <a:pt x="803" y="569"/>
                    </a:lnTo>
                    <a:lnTo>
                      <a:pt x="807" y="573"/>
                    </a:lnTo>
                    <a:lnTo>
                      <a:pt x="823" y="597"/>
                    </a:lnTo>
                    <a:lnTo>
                      <a:pt x="835" y="630"/>
                    </a:lnTo>
                    <a:lnTo>
                      <a:pt x="835" y="638"/>
                    </a:lnTo>
                    <a:lnTo>
                      <a:pt x="839" y="654"/>
                    </a:lnTo>
                    <a:lnTo>
                      <a:pt x="851" y="658"/>
                    </a:lnTo>
                    <a:lnTo>
                      <a:pt x="855" y="662"/>
                    </a:lnTo>
                    <a:lnTo>
                      <a:pt x="855" y="670"/>
                    </a:lnTo>
                    <a:lnTo>
                      <a:pt x="855" y="674"/>
                    </a:lnTo>
                    <a:lnTo>
                      <a:pt x="851" y="682"/>
                    </a:lnTo>
                    <a:lnTo>
                      <a:pt x="843" y="686"/>
                    </a:lnTo>
                    <a:lnTo>
                      <a:pt x="839" y="698"/>
                    </a:lnTo>
                    <a:lnTo>
                      <a:pt x="839" y="706"/>
                    </a:lnTo>
                    <a:lnTo>
                      <a:pt x="831" y="714"/>
                    </a:lnTo>
                    <a:lnTo>
                      <a:pt x="823" y="722"/>
                    </a:lnTo>
                    <a:lnTo>
                      <a:pt x="803" y="726"/>
                    </a:lnTo>
                    <a:lnTo>
                      <a:pt x="791" y="730"/>
                    </a:lnTo>
                    <a:lnTo>
                      <a:pt x="787" y="738"/>
                    </a:lnTo>
                    <a:lnTo>
                      <a:pt x="778" y="743"/>
                    </a:lnTo>
                    <a:lnTo>
                      <a:pt x="774" y="759"/>
                    </a:lnTo>
                    <a:lnTo>
                      <a:pt x="762" y="775"/>
                    </a:lnTo>
                    <a:lnTo>
                      <a:pt x="758" y="779"/>
                    </a:lnTo>
                    <a:lnTo>
                      <a:pt x="754" y="787"/>
                    </a:lnTo>
                    <a:lnTo>
                      <a:pt x="738" y="795"/>
                    </a:lnTo>
                    <a:lnTo>
                      <a:pt x="714" y="803"/>
                    </a:lnTo>
                    <a:lnTo>
                      <a:pt x="714" y="811"/>
                    </a:lnTo>
                    <a:lnTo>
                      <a:pt x="710" y="819"/>
                    </a:lnTo>
                    <a:lnTo>
                      <a:pt x="710" y="823"/>
                    </a:lnTo>
                    <a:lnTo>
                      <a:pt x="714" y="827"/>
                    </a:lnTo>
                    <a:lnTo>
                      <a:pt x="710" y="839"/>
                    </a:lnTo>
                    <a:lnTo>
                      <a:pt x="710" y="916"/>
                    </a:lnTo>
                    <a:lnTo>
                      <a:pt x="702" y="920"/>
                    </a:lnTo>
                    <a:lnTo>
                      <a:pt x="694" y="928"/>
                    </a:lnTo>
                    <a:lnTo>
                      <a:pt x="674" y="936"/>
                    </a:lnTo>
                    <a:lnTo>
                      <a:pt x="657" y="952"/>
                    </a:lnTo>
                    <a:lnTo>
                      <a:pt x="613" y="952"/>
                    </a:lnTo>
                    <a:lnTo>
                      <a:pt x="569" y="952"/>
                    </a:lnTo>
                    <a:lnTo>
                      <a:pt x="549" y="968"/>
                    </a:lnTo>
                    <a:lnTo>
                      <a:pt x="540" y="977"/>
                    </a:lnTo>
                    <a:lnTo>
                      <a:pt x="544" y="985"/>
                    </a:lnTo>
                    <a:lnTo>
                      <a:pt x="544" y="989"/>
                    </a:lnTo>
                    <a:lnTo>
                      <a:pt x="524" y="1009"/>
                    </a:lnTo>
                    <a:lnTo>
                      <a:pt x="500" y="1029"/>
                    </a:lnTo>
                    <a:lnTo>
                      <a:pt x="492" y="1029"/>
                    </a:lnTo>
                    <a:lnTo>
                      <a:pt x="484" y="1033"/>
                    </a:lnTo>
                    <a:lnTo>
                      <a:pt x="472" y="1041"/>
                    </a:lnTo>
                    <a:lnTo>
                      <a:pt x="464" y="1049"/>
                    </a:lnTo>
                    <a:lnTo>
                      <a:pt x="452" y="1061"/>
                    </a:lnTo>
                    <a:lnTo>
                      <a:pt x="444" y="1073"/>
                    </a:lnTo>
                    <a:lnTo>
                      <a:pt x="436" y="1073"/>
                    </a:lnTo>
                    <a:lnTo>
                      <a:pt x="419" y="107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 sz="800" b="1">
                  <a:cs typeface="+mn-cs"/>
                </a:endParaRPr>
              </a:p>
            </p:txBody>
          </p:sp>
          <p:sp>
            <p:nvSpPr>
              <p:cNvPr id="55" name="Text Box 74"/>
              <p:cNvSpPr txBox="1">
                <a:spLocks noChangeArrowheads="1"/>
              </p:cNvSpPr>
              <p:nvPr/>
            </p:nvSpPr>
            <p:spPr bwMode="auto">
              <a:xfrm>
                <a:off x="5962850" y="3062831"/>
                <a:ext cx="1252538" cy="2545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err="1" smtClean="0">
                    <a:cs typeface="Arial" pitchFamily="34" charset="0"/>
                  </a:rPr>
                  <a:t>Тукаевский</a:t>
                </a:r>
                <a:endParaRPr lang="ru-RU" sz="800" b="1" dirty="0" smtClean="0">
                  <a:cs typeface="Arial" pitchFamily="34" charset="0"/>
                </a:endParaRPr>
              </a:p>
            </p:txBody>
          </p:sp>
          <p:sp>
            <p:nvSpPr>
              <p:cNvPr id="56" name="Text Box 75"/>
              <p:cNvSpPr txBox="1">
                <a:spLocks noChangeArrowheads="1"/>
              </p:cNvSpPr>
              <p:nvPr/>
            </p:nvSpPr>
            <p:spPr bwMode="auto">
              <a:xfrm>
                <a:off x="3779914" y="5209427"/>
                <a:ext cx="1327151" cy="26428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00" b="1" dirty="0" err="1" smtClean="0">
                    <a:cs typeface="Arial" pitchFamily="34" charset="0"/>
                  </a:rPr>
                  <a:t>Нурлатский</a:t>
                </a:r>
                <a:endParaRPr lang="ru-RU" sz="900" b="1" dirty="0" smtClean="0">
                  <a:cs typeface="Arial" pitchFamily="34" charset="0"/>
                </a:endParaRPr>
              </a:p>
            </p:txBody>
          </p:sp>
          <p:sp>
            <p:nvSpPr>
              <p:cNvPr id="57" name="Text Box 76"/>
              <p:cNvSpPr txBox="1">
                <a:spLocks noChangeArrowheads="1"/>
              </p:cNvSpPr>
              <p:nvPr/>
            </p:nvSpPr>
            <p:spPr bwMode="auto">
              <a:xfrm>
                <a:off x="5691662" y="5221547"/>
                <a:ext cx="1544639" cy="2399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Лениногорский</a:t>
                </a:r>
              </a:p>
            </p:txBody>
          </p:sp>
          <p:sp>
            <p:nvSpPr>
              <p:cNvPr id="58" name="Text Box 77"/>
              <p:cNvSpPr txBox="1">
                <a:spLocks noChangeArrowheads="1"/>
              </p:cNvSpPr>
              <p:nvPr/>
            </p:nvSpPr>
            <p:spPr bwMode="auto">
              <a:xfrm>
                <a:off x="5601174" y="4524322"/>
                <a:ext cx="1635126" cy="24645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Альметьевский</a:t>
                </a:r>
              </a:p>
            </p:txBody>
          </p:sp>
          <p:sp>
            <p:nvSpPr>
              <p:cNvPr id="59" name="Text Box 78"/>
              <p:cNvSpPr txBox="1">
                <a:spLocks noChangeArrowheads="1"/>
              </p:cNvSpPr>
              <p:nvPr/>
            </p:nvSpPr>
            <p:spPr bwMode="auto">
              <a:xfrm>
                <a:off x="5807211" y="3736076"/>
                <a:ext cx="1084264" cy="24645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err="1" smtClean="0">
                    <a:cs typeface="Arial" pitchFamily="34" charset="0"/>
                  </a:rPr>
                  <a:t>Заинский</a:t>
                </a:r>
                <a:endParaRPr lang="ru-RU" sz="800" b="1" dirty="0" smtClean="0">
                  <a:cs typeface="Arial" pitchFamily="34" charset="0"/>
                </a:endParaRPr>
              </a:p>
            </p:txBody>
          </p:sp>
          <p:sp>
            <p:nvSpPr>
              <p:cNvPr id="60" name="Text Box 79"/>
              <p:cNvSpPr txBox="1">
                <a:spLocks noChangeArrowheads="1"/>
              </p:cNvSpPr>
              <p:nvPr/>
            </p:nvSpPr>
            <p:spPr bwMode="auto">
              <a:xfrm>
                <a:off x="4413846" y="2773447"/>
                <a:ext cx="1490663" cy="2626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Мамадышский</a:t>
                </a:r>
              </a:p>
            </p:txBody>
          </p:sp>
          <p:sp>
            <p:nvSpPr>
              <p:cNvPr id="61" name="Text Box 80"/>
              <p:cNvSpPr txBox="1">
                <a:spLocks noChangeArrowheads="1"/>
              </p:cNvSpPr>
              <p:nvPr/>
            </p:nvSpPr>
            <p:spPr bwMode="auto">
              <a:xfrm>
                <a:off x="3365898" y="3223239"/>
                <a:ext cx="1487489" cy="2448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00" b="1" dirty="0" smtClean="0">
                    <a:cs typeface="Arial" pitchFamily="34" charset="0"/>
                  </a:rPr>
                  <a:t>Р.Слободский</a:t>
                </a:r>
              </a:p>
            </p:txBody>
          </p:sp>
          <p:sp>
            <p:nvSpPr>
              <p:cNvPr id="62" name="Text Box 81"/>
              <p:cNvSpPr txBox="1">
                <a:spLocks noChangeArrowheads="1"/>
              </p:cNvSpPr>
              <p:nvPr/>
            </p:nvSpPr>
            <p:spPr bwMode="auto">
              <a:xfrm>
                <a:off x="3645779" y="2221471"/>
                <a:ext cx="1254126" cy="2513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Сабинский</a:t>
                </a:r>
              </a:p>
            </p:txBody>
          </p:sp>
          <p:sp>
            <p:nvSpPr>
              <p:cNvPr id="63" name="Text Box 82"/>
              <p:cNvSpPr txBox="1">
                <a:spLocks noChangeArrowheads="1"/>
              </p:cNvSpPr>
              <p:nvPr/>
            </p:nvSpPr>
            <p:spPr bwMode="auto">
              <a:xfrm>
                <a:off x="3582312" y="2531212"/>
                <a:ext cx="1404939" cy="2124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Тюлячинский</a:t>
                </a:r>
              </a:p>
            </p:txBody>
          </p:sp>
          <p:sp>
            <p:nvSpPr>
              <p:cNvPr id="64" name="Text Box 83"/>
              <p:cNvSpPr txBox="1">
                <a:spLocks noChangeArrowheads="1"/>
              </p:cNvSpPr>
              <p:nvPr/>
            </p:nvSpPr>
            <p:spPr bwMode="auto">
              <a:xfrm>
                <a:off x="3174645" y="1831041"/>
                <a:ext cx="922338" cy="2545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Арский</a:t>
                </a:r>
              </a:p>
            </p:txBody>
          </p:sp>
          <p:sp>
            <p:nvSpPr>
              <p:cNvPr id="65" name="Text Box 88"/>
              <p:cNvSpPr txBox="1">
                <a:spLocks noChangeArrowheads="1"/>
              </p:cNvSpPr>
              <p:nvPr/>
            </p:nvSpPr>
            <p:spPr bwMode="auto">
              <a:xfrm>
                <a:off x="1345239" y="3035526"/>
                <a:ext cx="1439863" cy="2598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00" b="1" dirty="0" smtClean="0">
                    <a:cs typeface="Arial" pitchFamily="34" charset="0"/>
                  </a:rPr>
                  <a:t>В.Услонский</a:t>
                </a:r>
              </a:p>
            </p:txBody>
          </p:sp>
          <p:sp>
            <p:nvSpPr>
              <p:cNvPr id="66" name="Text Box 90"/>
              <p:cNvSpPr txBox="1">
                <a:spLocks noChangeArrowheads="1"/>
              </p:cNvSpPr>
              <p:nvPr/>
            </p:nvSpPr>
            <p:spPr bwMode="auto">
              <a:xfrm>
                <a:off x="1988380" y="3746122"/>
                <a:ext cx="1555751" cy="2448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00" b="1" dirty="0" smtClean="0">
                    <a:cs typeface="Arial" pitchFamily="34" charset="0"/>
                  </a:rPr>
                  <a:t>К.Устьинский</a:t>
                </a:r>
              </a:p>
            </p:txBody>
          </p:sp>
          <p:sp>
            <p:nvSpPr>
              <p:cNvPr id="67" name="Text Box 92"/>
              <p:cNvSpPr txBox="1">
                <a:spLocks noChangeArrowheads="1"/>
              </p:cNvSpPr>
              <p:nvPr/>
            </p:nvSpPr>
            <p:spPr bwMode="auto">
              <a:xfrm>
                <a:off x="1716945" y="4316910"/>
                <a:ext cx="1211263" cy="24645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Тетюшский</a:t>
                </a:r>
              </a:p>
            </p:txBody>
          </p:sp>
          <p:sp>
            <p:nvSpPr>
              <p:cNvPr id="68" name="Text Box 94"/>
              <p:cNvSpPr txBox="1">
                <a:spLocks noChangeArrowheads="1"/>
              </p:cNvSpPr>
              <p:nvPr/>
            </p:nvSpPr>
            <p:spPr bwMode="auto">
              <a:xfrm>
                <a:off x="2555167" y="4538440"/>
                <a:ext cx="1160464" cy="25293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00" b="1" dirty="0" smtClean="0">
                    <a:cs typeface="Arial" pitchFamily="34" charset="0"/>
                  </a:rPr>
                  <a:t>Спасский</a:t>
                </a:r>
              </a:p>
            </p:txBody>
          </p:sp>
          <p:sp>
            <p:nvSpPr>
              <p:cNvPr id="69" name="Text Box 95"/>
              <p:cNvSpPr txBox="1">
                <a:spLocks noChangeArrowheads="1"/>
              </p:cNvSpPr>
              <p:nvPr/>
            </p:nvSpPr>
            <p:spPr bwMode="auto">
              <a:xfrm>
                <a:off x="2980926" y="4810862"/>
                <a:ext cx="1439864" cy="2723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00" b="1" dirty="0" smtClean="0">
                    <a:cs typeface="Arial" pitchFamily="34" charset="0"/>
                  </a:rPr>
                  <a:t>Алькеевский</a:t>
                </a:r>
              </a:p>
            </p:txBody>
          </p:sp>
          <p:sp>
            <p:nvSpPr>
              <p:cNvPr id="70" name="Text Box 96"/>
              <p:cNvSpPr txBox="1">
                <a:spLocks noChangeArrowheads="1"/>
              </p:cNvSpPr>
              <p:nvPr/>
            </p:nvSpPr>
            <p:spPr bwMode="auto">
              <a:xfrm>
                <a:off x="2948441" y="4102042"/>
                <a:ext cx="1503364" cy="2707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00" b="1" dirty="0" smtClean="0">
                    <a:cs typeface="Arial" pitchFamily="34" charset="0"/>
                  </a:rPr>
                  <a:t>Алексеевский</a:t>
                </a:r>
              </a:p>
            </p:txBody>
          </p:sp>
          <p:sp>
            <p:nvSpPr>
              <p:cNvPr id="71" name="Text Box 97"/>
              <p:cNvSpPr txBox="1">
                <a:spLocks noChangeArrowheads="1"/>
              </p:cNvSpPr>
              <p:nvPr/>
            </p:nvSpPr>
            <p:spPr bwMode="auto">
              <a:xfrm>
                <a:off x="3752200" y="3805306"/>
                <a:ext cx="1644651" cy="2545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Чистопольский</a:t>
                </a:r>
              </a:p>
            </p:txBody>
          </p:sp>
          <p:sp>
            <p:nvSpPr>
              <p:cNvPr id="72" name="Text Box 98"/>
              <p:cNvSpPr txBox="1">
                <a:spLocks noChangeArrowheads="1"/>
              </p:cNvSpPr>
              <p:nvPr/>
            </p:nvSpPr>
            <p:spPr bwMode="auto">
              <a:xfrm>
                <a:off x="3929148" y="4519732"/>
                <a:ext cx="1439864" cy="2367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Аксубаевский</a:t>
                </a:r>
              </a:p>
            </p:txBody>
          </p:sp>
          <p:sp>
            <p:nvSpPr>
              <p:cNvPr id="73" name="Text Box 99"/>
              <p:cNvSpPr txBox="1">
                <a:spLocks noChangeArrowheads="1"/>
              </p:cNvSpPr>
              <p:nvPr/>
            </p:nvSpPr>
            <p:spPr bwMode="auto">
              <a:xfrm>
                <a:off x="4530037" y="4192135"/>
                <a:ext cx="1638301" cy="2448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Н.Шешминский</a:t>
                </a:r>
              </a:p>
            </p:txBody>
          </p:sp>
          <p:sp>
            <p:nvSpPr>
              <p:cNvPr id="74" name="Text Box 100"/>
              <p:cNvSpPr txBox="1">
                <a:spLocks noChangeArrowheads="1"/>
              </p:cNvSpPr>
              <p:nvPr/>
            </p:nvSpPr>
            <p:spPr bwMode="auto">
              <a:xfrm>
                <a:off x="4785306" y="3408476"/>
                <a:ext cx="1489076" cy="2367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Нижнекамский</a:t>
                </a:r>
              </a:p>
            </p:txBody>
          </p:sp>
          <p:sp>
            <p:nvSpPr>
              <p:cNvPr id="75" name="Text Box 101"/>
              <p:cNvSpPr txBox="1">
                <a:spLocks noChangeArrowheads="1"/>
              </p:cNvSpPr>
              <p:nvPr/>
            </p:nvSpPr>
            <p:spPr bwMode="auto">
              <a:xfrm>
                <a:off x="2330165" y="3334327"/>
                <a:ext cx="1317626" cy="2367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Лаишевский</a:t>
                </a:r>
              </a:p>
            </p:txBody>
          </p:sp>
          <p:sp>
            <p:nvSpPr>
              <p:cNvPr id="76" name="Text Box 102"/>
              <p:cNvSpPr txBox="1">
                <a:spLocks noChangeArrowheads="1"/>
              </p:cNvSpPr>
              <p:nvPr/>
            </p:nvSpPr>
            <p:spPr bwMode="auto">
              <a:xfrm>
                <a:off x="2449088" y="2801812"/>
                <a:ext cx="1819276" cy="24645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Пестречинский</a:t>
                </a:r>
              </a:p>
            </p:txBody>
          </p:sp>
          <p:sp>
            <p:nvSpPr>
              <p:cNvPr id="77" name="Text Box 103"/>
              <p:cNvSpPr txBox="1">
                <a:spLocks noChangeArrowheads="1"/>
              </p:cNvSpPr>
              <p:nvPr/>
            </p:nvSpPr>
            <p:spPr bwMode="auto">
              <a:xfrm>
                <a:off x="4788027" y="4848632"/>
                <a:ext cx="1703388" cy="2367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Черемшанский</a:t>
                </a:r>
              </a:p>
            </p:txBody>
          </p:sp>
          <p:sp>
            <p:nvSpPr>
              <p:cNvPr id="78" name="Text Box 104"/>
              <p:cNvSpPr txBox="1">
                <a:spLocks noChangeArrowheads="1"/>
              </p:cNvSpPr>
              <p:nvPr/>
            </p:nvSpPr>
            <p:spPr bwMode="auto">
              <a:xfrm>
                <a:off x="5145636" y="2551122"/>
                <a:ext cx="1298576" cy="24645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Елабужский</a:t>
                </a:r>
              </a:p>
            </p:txBody>
          </p:sp>
          <p:sp>
            <p:nvSpPr>
              <p:cNvPr id="79" name="Text Box 138"/>
              <p:cNvSpPr txBox="1">
                <a:spLocks noChangeArrowheads="1"/>
              </p:cNvSpPr>
              <p:nvPr/>
            </p:nvSpPr>
            <p:spPr bwMode="auto">
              <a:xfrm>
                <a:off x="2033506" y="2529794"/>
                <a:ext cx="962026" cy="2983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solidFill>
                      <a:srgbClr val="FF0000"/>
                    </a:solidFill>
                    <a:cs typeface="Arial" pitchFamily="34" charset="0"/>
                  </a:rPr>
                  <a:t>Казань</a:t>
                </a:r>
                <a:endParaRPr lang="ru-RU" sz="800" b="1" dirty="0" smtClean="0">
                  <a:cs typeface="Arial" pitchFamily="34" charset="0"/>
                </a:endParaRPr>
              </a:p>
            </p:txBody>
          </p:sp>
          <p:sp>
            <p:nvSpPr>
              <p:cNvPr id="80" name="Text Box 150"/>
              <p:cNvSpPr txBox="1">
                <a:spLocks noChangeArrowheads="1"/>
              </p:cNvSpPr>
              <p:nvPr/>
            </p:nvSpPr>
            <p:spPr bwMode="auto">
              <a:xfrm>
                <a:off x="6574002" y="3680307"/>
                <a:ext cx="1544639" cy="2399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Сармановский</a:t>
                </a:r>
              </a:p>
            </p:txBody>
          </p:sp>
          <p:sp>
            <p:nvSpPr>
              <p:cNvPr id="81" name="Text Box 152"/>
              <p:cNvSpPr txBox="1">
                <a:spLocks noChangeArrowheads="1"/>
              </p:cNvSpPr>
              <p:nvPr/>
            </p:nvSpPr>
            <p:spPr bwMode="auto">
              <a:xfrm>
                <a:off x="7013403" y="3060979"/>
                <a:ext cx="1546226" cy="2399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Мензелинский</a:t>
                </a:r>
              </a:p>
            </p:txBody>
          </p:sp>
          <p:sp>
            <p:nvSpPr>
              <p:cNvPr id="82" name="Text Box 71"/>
              <p:cNvSpPr txBox="1">
                <a:spLocks noChangeArrowheads="1"/>
              </p:cNvSpPr>
              <p:nvPr/>
            </p:nvSpPr>
            <p:spPr bwMode="auto">
              <a:xfrm>
                <a:off x="3469954" y="1196872"/>
                <a:ext cx="1462089" cy="28860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Балтасинский</a:t>
                </a:r>
              </a:p>
            </p:txBody>
          </p:sp>
          <p:sp>
            <p:nvSpPr>
              <p:cNvPr id="83" name="Text Box 72"/>
              <p:cNvSpPr txBox="1">
                <a:spLocks noChangeArrowheads="1"/>
              </p:cNvSpPr>
              <p:nvPr/>
            </p:nvSpPr>
            <p:spPr bwMode="auto">
              <a:xfrm>
                <a:off x="4139954" y="1801654"/>
                <a:ext cx="1252538" cy="24320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Кукморский</a:t>
                </a:r>
              </a:p>
            </p:txBody>
          </p:sp>
          <p:sp>
            <p:nvSpPr>
              <p:cNvPr id="84" name="Text Box 73"/>
              <p:cNvSpPr txBox="1">
                <a:spLocks noChangeArrowheads="1"/>
              </p:cNvSpPr>
              <p:nvPr/>
            </p:nvSpPr>
            <p:spPr bwMode="auto">
              <a:xfrm>
                <a:off x="5522817" y="2230707"/>
                <a:ext cx="1641476" cy="24645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Менделеевский</a:t>
                </a:r>
              </a:p>
            </p:txBody>
          </p:sp>
          <p:sp>
            <p:nvSpPr>
              <p:cNvPr id="85" name="Text Box 84"/>
              <p:cNvSpPr txBox="1">
                <a:spLocks noChangeArrowheads="1"/>
              </p:cNvSpPr>
              <p:nvPr/>
            </p:nvSpPr>
            <p:spPr bwMode="auto">
              <a:xfrm>
                <a:off x="2130301" y="2083103"/>
                <a:ext cx="1252538" cy="28050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В.Горский</a:t>
                </a:r>
              </a:p>
            </p:txBody>
          </p:sp>
          <p:sp>
            <p:nvSpPr>
              <p:cNvPr id="86" name="Text Box 85"/>
              <p:cNvSpPr txBox="1">
                <a:spLocks noChangeArrowheads="1"/>
              </p:cNvSpPr>
              <p:nvPr/>
            </p:nvSpPr>
            <p:spPr bwMode="auto">
              <a:xfrm>
                <a:off x="2205822" y="1579812"/>
                <a:ext cx="1157288" cy="26752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Атнинский</a:t>
                </a:r>
              </a:p>
            </p:txBody>
          </p:sp>
          <p:sp>
            <p:nvSpPr>
              <p:cNvPr id="87" name="Text Box 86"/>
              <p:cNvSpPr txBox="1">
                <a:spLocks noChangeArrowheads="1"/>
              </p:cNvSpPr>
              <p:nvPr/>
            </p:nvSpPr>
            <p:spPr bwMode="auto">
              <a:xfrm>
                <a:off x="999742" y="2408036"/>
                <a:ext cx="1254126" cy="25455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00" b="1" dirty="0" smtClean="0">
                    <a:cs typeface="Arial" pitchFamily="34" charset="0"/>
                  </a:rPr>
                  <a:t>З.Дольский</a:t>
                </a:r>
              </a:p>
            </p:txBody>
          </p:sp>
          <p:sp>
            <p:nvSpPr>
              <p:cNvPr id="88" name="Text Box 87"/>
              <p:cNvSpPr txBox="1">
                <a:spLocks noChangeArrowheads="1"/>
              </p:cNvSpPr>
              <p:nvPr/>
            </p:nvSpPr>
            <p:spPr bwMode="auto">
              <a:xfrm>
                <a:off x="496095" y="3458482"/>
                <a:ext cx="1181101" cy="25293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Кайбицкий</a:t>
                </a:r>
              </a:p>
            </p:txBody>
          </p:sp>
          <p:sp>
            <p:nvSpPr>
              <p:cNvPr id="89" name="Text Box 89"/>
              <p:cNvSpPr txBox="1">
                <a:spLocks noChangeArrowheads="1"/>
              </p:cNvSpPr>
              <p:nvPr/>
            </p:nvSpPr>
            <p:spPr bwMode="auto">
              <a:xfrm>
                <a:off x="396746" y="3827370"/>
                <a:ext cx="1431926" cy="2383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Апастовский</a:t>
                </a:r>
              </a:p>
            </p:txBody>
          </p:sp>
          <p:sp>
            <p:nvSpPr>
              <p:cNvPr id="90" name="Text Box 91"/>
              <p:cNvSpPr txBox="1">
                <a:spLocks noChangeArrowheads="1"/>
              </p:cNvSpPr>
              <p:nvPr/>
            </p:nvSpPr>
            <p:spPr bwMode="auto">
              <a:xfrm>
                <a:off x="749615" y="4327093"/>
                <a:ext cx="1060451" cy="2367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err="1" smtClean="0">
                    <a:cs typeface="Arial" pitchFamily="34" charset="0"/>
                  </a:rPr>
                  <a:t>Буинский</a:t>
                </a:r>
                <a:endParaRPr lang="ru-RU" sz="800" b="1" dirty="0" smtClean="0">
                  <a:cs typeface="Arial" pitchFamily="34" charset="0"/>
                </a:endParaRPr>
              </a:p>
            </p:txBody>
          </p:sp>
          <p:sp>
            <p:nvSpPr>
              <p:cNvPr id="91" name="Text Box 93"/>
              <p:cNvSpPr txBox="1">
                <a:spLocks noChangeArrowheads="1"/>
              </p:cNvSpPr>
              <p:nvPr/>
            </p:nvSpPr>
            <p:spPr bwMode="auto">
              <a:xfrm>
                <a:off x="-102600" y="4987620"/>
                <a:ext cx="1728789" cy="30320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Дрожжановский</a:t>
                </a:r>
              </a:p>
            </p:txBody>
          </p:sp>
          <p:sp>
            <p:nvSpPr>
              <p:cNvPr id="92" name="Text Box 139"/>
              <p:cNvSpPr txBox="1">
                <a:spLocks noChangeArrowheads="1"/>
              </p:cNvSpPr>
              <p:nvPr/>
            </p:nvSpPr>
            <p:spPr bwMode="auto">
              <a:xfrm>
                <a:off x="6562818" y="1858658"/>
                <a:ext cx="1401763" cy="24645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Агрызский</a:t>
                </a:r>
              </a:p>
            </p:txBody>
          </p:sp>
          <p:sp>
            <p:nvSpPr>
              <p:cNvPr id="93" name="Text Box 142"/>
              <p:cNvSpPr txBox="1">
                <a:spLocks noChangeArrowheads="1"/>
              </p:cNvSpPr>
              <p:nvPr/>
            </p:nvSpPr>
            <p:spPr bwMode="auto">
              <a:xfrm>
                <a:off x="6876261" y="5555616"/>
                <a:ext cx="1658938" cy="2399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Бугульминский</a:t>
                </a:r>
              </a:p>
            </p:txBody>
          </p:sp>
          <p:sp>
            <p:nvSpPr>
              <p:cNvPr id="94" name="Text Box 144"/>
              <p:cNvSpPr txBox="1">
                <a:spLocks noChangeArrowheads="1"/>
              </p:cNvSpPr>
              <p:nvPr/>
            </p:nvSpPr>
            <p:spPr bwMode="auto">
              <a:xfrm>
                <a:off x="7624579" y="5892035"/>
                <a:ext cx="1336676" cy="2399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Бавлинский</a:t>
                </a:r>
              </a:p>
            </p:txBody>
          </p:sp>
          <p:sp>
            <p:nvSpPr>
              <p:cNvPr id="95" name="Text Box 148"/>
              <p:cNvSpPr txBox="1">
                <a:spLocks noChangeArrowheads="1"/>
              </p:cNvSpPr>
              <p:nvPr/>
            </p:nvSpPr>
            <p:spPr bwMode="auto">
              <a:xfrm>
                <a:off x="7153233" y="4364846"/>
                <a:ext cx="1544638" cy="2399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Азнакаевский</a:t>
                </a:r>
              </a:p>
            </p:txBody>
          </p:sp>
          <p:sp>
            <p:nvSpPr>
              <p:cNvPr id="96" name="Text Box 156"/>
              <p:cNvSpPr txBox="1">
                <a:spLocks noChangeArrowheads="1"/>
              </p:cNvSpPr>
              <p:nvPr/>
            </p:nvSpPr>
            <p:spPr bwMode="auto">
              <a:xfrm>
                <a:off x="7356108" y="3909354"/>
                <a:ext cx="1582738" cy="2399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smtClean="0">
                    <a:cs typeface="Arial" pitchFamily="34" charset="0"/>
                  </a:rPr>
                  <a:t>Муслюмовский</a:t>
                </a:r>
              </a:p>
            </p:txBody>
          </p:sp>
          <p:sp>
            <p:nvSpPr>
              <p:cNvPr id="97" name="Text Box 148"/>
              <p:cNvSpPr txBox="1">
                <a:spLocks noChangeArrowheads="1"/>
              </p:cNvSpPr>
              <p:nvPr/>
            </p:nvSpPr>
            <p:spPr bwMode="auto">
              <a:xfrm>
                <a:off x="7649899" y="4895851"/>
                <a:ext cx="1228905" cy="23999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err="1" smtClean="0">
                    <a:cs typeface="Arial" pitchFamily="34" charset="0"/>
                  </a:rPr>
                  <a:t>Ютазинский</a:t>
                </a:r>
                <a:endParaRPr lang="ru-RU" sz="800" b="1" dirty="0" smtClean="0">
                  <a:cs typeface="Arial" pitchFamily="34" charset="0"/>
                </a:endParaRPr>
              </a:p>
            </p:txBody>
          </p:sp>
          <p:sp>
            <p:nvSpPr>
              <p:cNvPr id="98" name="Text Box 139"/>
              <p:cNvSpPr txBox="1">
                <a:spLocks noChangeArrowheads="1"/>
              </p:cNvSpPr>
              <p:nvPr/>
            </p:nvSpPr>
            <p:spPr bwMode="auto">
              <a:xfrm>
                <a:off x="7778110" y="2826488"/>
                <a:ext cx="1401762" cy="24645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800" b="1" dirty="0" err="1" smtClean="0">
                    <a:cs typeface="Arial" pitchFamily="34" charset="0"/>
                  </a:rPr>
                  <a:t>Актанышский</a:t>
                </a:r>
                <a:endParaRPr lang="ru-RU" sz="800" b="1" dirty="0" smtClean="0">
                  <a:cs typeface="Arial" pitchFamily="34" charset="0"/>
                </a:endParaRPr>
              </a:p>
            </p:txBody>
          </p:sp>
        </p:grpSp>
        <p:sp>
          <p:nvSpPr>
            <p:cNvPr id="4" name="TextBox 3"/>
            <p:cNvSpPr txBox="1"/>
            <p:nvPr/>
          </p:nvSpPr>
          <p:spPr>
            <a:xfrm>
              <a:off x="8477903" y="5281148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C00000"/>
                  </a:solidFill>
                </a:rPr>
                <a:t>3</a:t>
              </a:r>
              <a:endParaRPr lang="ru-RU" b="1" dirty="0">
                <a:solidFill>
                  <a:srgbClr val="C00000"/>
                </a:solidFill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8751301" y="443585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C00000"/>
                  </a:solidFill>
                </a:rPr>
                <a:t>1</a:t>
              </a:r>
              <a:endParaRPr lang="ru-RU" b="1" dirty="0">
                <a:solidFill>
                  <a:srgbClr val="C00000"/>
                </a:solidFill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7903212" y="5246253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C00000"/>
                  </a:solidFill>
                </a:rPr>
                <a:t>2</a:t>
              </a:r>
              <a:endParaRPr lang="ru-RU" b="1" dirty="0">
                <a:solidFill>
                  <a:srgbClr val="C00000"/>
                </a:solidFill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7252139" y="4617688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C00000"/>
                  </a:solidFill>
                </a:rPr>
                <a:t>1</a:t>
              </a:r>
              <a:endParaRPr lang="ru-RU" b="1" dirty="0">
                <a:solidFill>
                  <a:srgbClr val="C00000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7502682" y="5042753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C00000"/>
                  </a:solidFill>
                </a:rPr>
                <a:t>1</a:t>
              </a:r>
              <a:endParaRPr lang="ru-RU" b="1" dirty="0">
                <a:solidFill>
                  <a:srgbClr val="C00000"/>
                </a:solidFill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8280524" y="5730516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C00000"/>
                  </a:solidFill>
                </a:rPr>
                <a:t>1</a:t>
              </a:r>
              <a:endParaRPr lang="ru-RU" b="1" dirty="0">
                <a:solidFill>
                  <a:srgbClr val="C00000"/>
                </a:solidFill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7339173" y="4010928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C00000"/>
                  </a:solidFill>
                </a:rPr>
                <a:t>1</a:t>
              </a:r>
              <a:endParaRPr lang="ru-RU" b="1" dirty="0">
                <a:solidFill>
                  <a:srgbClr val="C00000"/>
                </a:solidFill>
              </a:endParaRPr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8819296" y="6015706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C00000"/>
                  </a:solidFill>
                </a:rPr>
                <a:t>1</a:t>
              </a:r>
              <a:endParaRPr lang="ru-RU" b="1" dirty="0">
                <a:solidFill>
                  <a:srgbClr val="C00000"/>
                </a:solidFill>
              </a:endParaRPr>
            </a:p>
          </p:txBody>
        </p:sp>
      </p:grpSp>
      <p:sp>
        <p:nvSpPr>
          <p:cNvPr id="115" name="TextBox 114"/>
          <p:cNvSpPr txBox="1"/>
          <p:nvPr/>
        </p:nvSpPr>
        <p:spPr>
          <a:xfrm>
            <a:off x="7708418" y="2751080"/>
            <a:ext cx="40265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 smtClean="0">
                <a:solidFill>
                  <a:srgbClr val="0070C0"/>
                </a:solidFill>
              </a:rPr>
              <a:t>Кол-во агрофирм по КВ Агро</a:t>
            </a:r>
            <a:endParaRPr lang="ru-RU" sz="2000" b="1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613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>
                <a:solidFill>
                  <a:prstClr val="black"/>
                </a:solidFill>
                <a:cs typeface="Arial" panose="020B0604020202020204" pitchFamily="34" charset="0"/>
              </a:rPr>
              <a:t>3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91571" y="1000884"/>
            <a:ext cx="1140043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КАК ДОСТИЧЬ ПОСТАВЛЕННЫХ ЗАДАЧ </a:t>
            </a:r>
            <a:b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И ПРОИЗВЕСТИ РЕНТАБЕЛЬНУЮ ПРОДУКЦИЮ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89203" y="2074355"/>
            <a:ext cx="10655691" cy="4616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ru-RU" sz="3000" b="1" dirty="0" smtClean="0">
                <a:cs typeface="Arial" pitchFamily="34" charset="0"/>
              </a:rPr>
              <a:t>2 основных направления повышения эффективности:</a:t>
            </a:r>
            <a:endParaRPr lang="ru-RU" sz="3000" b="1" dirty="0">
              <a:cs typeface="Arial" pitchFamily="34" charset="0"/>
            </a:endParaRPr>
          </a:p>
        </p:txBody>
      </p:sp>
      <p:pic>
        <p:nvPicPr>
          <p:cNvPr id="7" name="Picture 3" descr="J:\YandexDisk\Документы\для сайта\татагрохим\P_20170907_142721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03118" y="2850078"/>
            <a:ext cx="5296376" cy="3626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5467" y="2903208"/>
            <a:ext cx="5484808" cy="3573415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 rot="19622180">
            <a:off x="1557039" y="4260398"/>
            <a:ext cx="3797835" cy="64633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36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скисление</a:t>
            </a:r>
            <a:r>
              <a:rPr lang="ru-RU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очв</a:t>
            </a:r>
            <a:endParaRPr lang="ru-RU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Прямоугольник 10"/>
          <p:cNvSpPr/>
          <p:nvPr/>
        </p:nvSpPr>
        <p:spPr>
          <a:xfrm rot="19622180">
            <a:off x="6747370" y="4263323"/>
            <a:ext cx="5269391" cy="107721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вышение эффективности </a:t>
            </a:r>
          </a:p>
          <a:p>
            <a:pPr algn="ctr"/>
            <a:r>
              <a:rPr lang="ru-RU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стицидов</a:t>
            </a:r>
            <a:endParaRPr lang="ru-RU" sz="32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462697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426764" y="1159521"/>
            <a:ext cx="7063435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426764" y="981952"/>
            <a:ext cx="7063435" cy="735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91571" y="1060652"/>
            <a:ext cx="1140043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РАСТВОРНЫЕ УЗЛЫ </a:t>
            </a:r>
            <a:endParaRPr lang="ru-RU" sz="2600" dirty="0" smtClean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В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АРСКОМ, БАЛТАСИНСКОМ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И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БУИНСКОМ МУНИЦИПАЛЬНЫХ РАЙОНАХ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053939" y="2126291"/>
            <a:ext cx="10699923" cy="4562033"/>
            <a:chOff x="1701968" y="1677937"/>
            <a:chExt cx="6163856" cy="3093989"/>
          </a:xfrm>
        </p:grpSpPr>
        <p:pic>
          <p:nvPicPr>
            <p:cNvPr id="43" name="Объект 8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t="20014"/>
            <a:stretch/>
          </p:blipFill>
          <p:spPr>
            <a:xfrm>
              <a:off x="1712295" y="3395392"/>
              <a:ext cx="2046372" cy="1357923"/>
            </a:xfrm>
            <a:prstGeom prst="rect">
              <a:avLst/>
            </a:prstGeom>
            <a:ln w="38100">
              <a:solidFill>
                <a:srgbClr val="008000"/>
              </a:solidFill>
            </a:ln>
          </p:spPr>
        </p:pic>
        <p:pic>
          <p:nvPicPr>
            <p:cNvPr id="44" name="Picture 2" descr="C:\Users\Новичков\Desktop\бюджет\Растворный узел\фото\Арск\игенче\2f429df9-bd2c-40b3-a1e9-9b04fc53e867.JP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2296" y="1684679"/>
              <a:ext cx="2086419" cy="1401347"/>
            </a:xfrm>
            <a:prstGeom prst="rect">
              <a:avLst/>
            </a:prstGeom>
            <a:noFill/>
            <a:ln w="38100">
              <a:solidFill>
                <a:srgbClr val="008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3" descr="C:\Users\Новичков\Desktop\бюджет\Растворный узел\фото\Арск\игенче\7d6c111a-c761-4cd2-a04c-4410e7ef95be.JPG"/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r="120"/>
            <a:stretch/>
          </p:blipFill>
          <p:spPr bwMode="auto">
            <a:xfrm>
              <a:off x="3825686" y="1684679"/>
              <a:ext cx="1919418" cy="1401347"/>
            </a:xfrm>
            <a:prstGeom prst="rect">
              <a:avLst/>
            </a:prstGeom>
            <a:noFill/>
            <a:ln w="38100">
              <a:solidFill>
                <a:srgbClr val="008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Объект 8"/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75376" y="3395392"/>
              <a:ext cx="1869729" cy="1357923"/>
            </a:xfrm>
            <a:prstGeom prst="rect">
              <a:avLst/>
            </a:prstGeom>
            <a:ln w="38100">
              <a:solidFill>
                <a:srgbClr val="008000"/>
              </a:solidFill>
            </a:ln>
          </p:spPr>
        </p:pic>
        <p:sp>
          <p:nvSpPr>
            <p:cNvPr id="47" name="Прямоугольник 46"/>
            <p:cNvSpPr/>
            <p:nvPr/>
          </p:nvSpPr>
          <p:spPr>
            <a:xfrm>
              <a:off x="3163725" y="1677937"/>
              <a:ext cx="1269981" cy="208736"/>
            </a:xfrm>
            <a:prstGeom prst="rect">
              <a:avLst/>
            </a:prstGeom>
            <a:solidFill>
              <a:srgbClr val="008000"/>
            </a:solidFill>
            <a:effectLst/>
          </p:spPr>
          <p:txBody>
            <a:bodyPr wrap="none" tIns="0" bIns="0">
              <a:spAutoFit/>
            </a:bodyPr>
            <a:lstStyle/>
            <a:p>
              <a:r>
                <a:rPr lang="ru-RU" sz="2000" b="1" dirty="0">
                  <a:solidFill>
                    <a:schemeClr val="bg1"/>
                  </a:solidFill>
                  <a:cs typeface="Arial" pitchFamily="34" charset="0"/>
                </a:rPr>
                <a:t>ООО АФ «</a:t>
              </a:r>
              <a:r>
                <a:rPr lang="ru-RU" sz="2000" b="1" dirty="0" err="1">
                  <a:solidFill>
                    <a:schemeClr val="bg1"/>
                  </a:solidFill>
                  <a:cs typeface="Arial" pitchFamily="34" charset="0"/>
                </a:rPr>
                <a:t>Игенче</a:t>
              </a:r>
              <a:r>
                <a:rPr lang="ru-RU" sz="2000" b="1" dirty="0">
                  <a:solidFill>
                    <a:schemeClr val="bg1"/>
                  </a:solidFill>
                  <a:cs typeface="Arial" pitchFamily="34" charset="0"/>
                </a:rPr>
                <a:t>»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3875376" y="4556738"/>
              <a:ext cx="1065976" cy="208736"/>
            </a:xfrm>
            <a:prstGeom prst="rect">
              <a:avLst/>
            </a:prstGeom>
            <a:solidFill>
              <a:srgbClr val="008000"/>
            </a:solidFill>
            <a:effectLst/>
          </p:spPr>
          <p:txBody>
            <a:bodyPr wrap="none" tIns="0" bIns="0">
              <a:spAutoFit/>
            </a:bodyPr>
            <a:lstStyle/>
            <a:p>
              <a:r>
                <a:rPr lang="ru-RU" sz="2000" b="1" dirty="0">
                  <a:solidFill>
                    <a:schemeClr val="bg1"/>
                  </a:solidFill>
                  <a:cs typeface="Arial" pitchFamily="34" charset="0"/>
                </a:rPr>
                <a:t>ООО «</a:t>
              </a:r>
              <a:r>
                <a:rPr lang="ru-RU" sz="2000" b="1" dirty="0" err="1">
                  <a:solidFill>
                    <a:schemeClr val="bg1"/>
                  </a:solidFill>
                  <a:cs typeface="Arial" pitchFamily="34" charset="0"/>
                </a:rPr>
                <a:t>Дуслык</a:t>
              </a:r>
              <a:r>
                <a:rPr lang="ru-RU" sz="2000" b="1" dirty="0">
                  <a:solidFill>
                    <a:schemeClr val="bg1"/>
                  </a:solidFill>
                  <a:cs typeface="Arial" pitchFamily="34" charset="0"/>
                </a:rPr>
                <a:t>"</a:t>
              </a:r>
            </a:p>
          </p:txBody>
        </p:sp>
        <p:pic>
          <p:nvPicPr>
            <p:cNvPr id="49" name="Рисунок 48"/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61359" y="1684678"/>
              <a:ext cx="2004465" cy="1498253"/>
            </a:xfrm>
            <a:prstGeom prst="rect">
              <a:avLst/>
            </a:prstGeom>
            <a:ln w="38100">
              <a:solidFill>
                <a:srgbClr val="008000"/>
              </a:solidFill>
            </a:ln>
          </p:spPr>
        </p:pic>
        <p:pic>
          <p:nvPicPr>
            <p:cNvPr id="50" name="Рисунок 49"/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1026" r="4934"/>
            <a:stretch/>
          </p:blipFill>
          <p:spPr>
            <a:xfrm>
              <a:off x="5861359" y="3182931"/>
              <a:ext cx="2004465" cy="1570384"/>
            </a:xfrm>
            <a:prstGeom prst="rect">
              <a:avLst/>
            </a:prstGeom>
            <a:ln w="38100">
              <a:solidFill>
                <a:srgbClr val="008000"/>
              </a:solidFill>
            </a:ln>
          </p:spPr>
        </p:pic>
        <p:sp>
          <p:nvSpPr>
            <p:cNvPr id="51" name="Прямоугольник 50"/>
            <p:cNvSpPr/>
            <p:nvPr/>
          </p:nvSpPr>
          <p:spPr>
            <a:xfrm>
              <a:off x="1701968" y="4563190"/>
              <a:ext cx="1287711" cy="208736"/>
            </a:xfrm>
            <a:prstGeom prst="rect">
              <a:avLst/>
            </a:prstGeom>
            <a:solidFill>
              <a:srgbClr val="008000"/>
            </a:solidFill>
            <a:effectLst/>
          </p:spPr>
          <p:txBody>
            <a:bodyPr wrap="none" tIns="0" bIns="0">
              <a:spAutoFit/>
            </a:bodyPr>
            <a:lstStyle/>
            <a:p>
              <a:r>
                <a:rPr lang="ru-RU" sz="2000" b="1" dirty="0">
                  <a:solidFill>
                    <a:schemeClr val="bg1"/>
                  </a:solidFill>
                  <a:cs typeface="Arial" pitchFamily="34" charset="0"/>
                </a:rPr>
                <a:t>СХПК «Кызыл </a:t>
              </a:r>
              <a:r>
                <a:rPr lang="ru-RU" sz="2000" b="1" dirty="0" err="1">
                  <a:solidFill>
                    <a:schemeClr val="bg1"/>
                  </a:solidFill>
                  <a:cs typeface="Arial" pitchFamily="34" charset="0"/>
                </a:rPr>
                <a:t>юл</a:t>
              </a:r>
              <a:r>
                <a:rPr lang="ru-RU" sz="2000" b="1" dirty="0">
                  <a:solidFill>
                    <a:schemeClr val="bg1"/>
                  </a:solidFill>
                  <a:cs typeface="Arial" pitchFamily="34" charset="0"/>
                </a:rPr>
                <a:t>»</a:t>
              </a: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6309418" y="3066403"/>
              <a:ext cx="1201315" cy="208736"/>
            </a:xfrm>
            <a:prstGeom prst="rect">
              <a:avLst/>
            </a:prstGeom>
            <a:solidFill>
              <a:srgbClr val="008000"/>
            </a:solidFill>
            <a:effectLst/>
          </p:spPr>
          <p:txBody>
            <a:bodyPr wrap="none" tIns="0" bIns="0">
              <a:spAutoFit/>
            </a:bodyPr>
            <a:lstStyle/>
            <a:p>
              <a:r>
                <a:rPr lang="ru-RU" sz="2000" b="1" dirty="0">
                  <a:solidFill>
                    <a:schemeClr val="bg1"/>
                  </a:solidFill>
                  <a:cs typeface="Arial" pitchFamily="34" charset="0"/>
                </a:rPr>
                <a:t>ООО «Авангард»</a:t>
              </a:r>
            </a:p>
          </p:txBody>
        </p:sp>
      </p:grpSp>
      <p:sp>
        <p:nvSpPr>
          <p:cNvPr id="17" name="Скругленный прямоугольник 16"/>
          <p:cNvSpPr/>
          <p:nvPr/>
        </p:nvSpPr>
        <p:spPr>
          <a:xfrm>
            <a:off x="1174489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30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4310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537019" y="1159521"/>
            <a:ext cx="9417912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3733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37019" y="981952"/>
            <a:ext cx="9417912" cy="735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3733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74489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31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50887"/>
          <a:stretch/>
        </p:blipFill>
        <p:spPr bwMode="auto">
          <a:xfrm>
            <a:off x="1338895" y="2278587"/>
            <a:ext cx="5007314" cy="4106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805218" y="1396136"/>
            <a:ext cx="1138678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РЕКОМЕНДУЕМАЯ СХЕМА СОЗДАНИЯ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СТАЦИОНАРНОГО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РАСТВОРНОГО УЗЛА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181" t="54649" r="18722" b="16029"/>
          <a:stretch/>
        </p:blipFill>
        <p:spPr bwMode="auto">
          <a:xfrm>
            <a:off x="6760971" y="2370948"/>
            <a:ext cx="4983926" cy="402985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409860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537019" y="1159521"/>
            <a:ext cx="9417912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37019" y="981952"/>
            <a:ext cx="9417912" cy="735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91571" y="1038730"/>
            <a:ext cx="1139027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УВЕЛИЧЕНИЕ ЭФФЕКТИВНОСТИ ЗАЩИТНЫХ МЕРОПРИЯТИЙ – </a:t>
            </a:r>
            <a:endParaRPr lang="en-US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ТОЧКА РОСТА ОТРАСЛИ ЗЕМЛЕДЕЛИЯ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734344" y="2004667"/>
            <a:ext cx="7900900" cy="4616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ru-RU" sz="2400" b="1" dirty="0">
                <a:cs typeface="Arial" pitchFamily="34" charset="0"/>
              </a:rPr>
              <a:t>Задача – на каждое хозяйство </a:t>
            </a:r>
            <a:r>
              <a:rPr lang="en-US" sz="2400" b="1" dirty="0" smtClean="0">
                <a:cs typeface="Arial" pitchFamily="34" charset="0"/>
              </a:rPr>
              <a:t>&gt;500 </a:t>
            </a:r>
            <a:r>
              <a:rPr lang="ru-RU" sz="2400" b="1" dirty="0">
                <a:cs typeface="Arial" pitchFamily="34" charset="0"/>
              </a:rPr>
              <a:t>га </a:t>
            </a:r>
            <a:r>
              <a:rPr lang="ru-RU" sz="2400" b="1" dirty="0" smtClean="0">
                <a:cs typeface="Arial" pitchFamily="34" charset="0"/>
              </a:rPr>
              <a:t>растворный </a:t>
            </a:r>
            <a:r>
              <a:rPr lang="ru-RU" sz="2400" b="1" dirty="0">
                <a:cs typeface="Arial" pitchFamily="34" charset="0"/>
              </a:rPr>
              <a:t>узел</a:t>
            </a:r>
          </a:p>
        </p:txBody>
      </p:sp>
      <p:sp>
        <p:nvSpPr>
          <p:cNvPr id="3" name="Блок-схема: память с прямым доступом 2"/>
          <p:cNvSpPr/>
          <p:nvPr/>
        </p:nvSpPr>
        <p:spPr>
          <a:xfrm>
            <a:off x="4779781" y="3681945"/>
            <a:ext cx="3594223" cy="1909097"/>
          </a:xfrm>
          <a:prstGeom prst="flowChartMagneticDrum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algn="ctr"/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Не менее </a:t>
            </a:r>
            <a:r>
              <a:rPr lang="ru-RU" sz="37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50 м</a:t>
            </a:r>
            <a:r>
              <a:rPr lang="ru-RU" sz="3733" b="1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3</a:t>
            </a: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 flipH="1">
            <a:off x="5312549" y="5120703"/>
            <a:ext cx="3879785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9188746" y="5120707"/>
            <a:ext cx="0" cy="13937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5612159" y="2469650"/>
            <a:ext cx="6085840" cy="120032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ru-RU" b="1" dirty="0">
                <a:cs typeface="Arial" pitchFamily="34" charset="0"/>
              </a:rPr>
              <a:t>Температуру – не менее 20 </a:t>
            </a:r>
            <a:r>
              <a:rPr lang="ru-RU" b="1" baseline="30000" dirty="0">
                <a:cs typeface="Arial" pitchFamily="34" charset="0"/>
              </a:rPr>
              <a:t>0</a:t>
            </a:r>
            <a:r>
              <a:rPr lang="ru-RU" b="1" dirty="0">
                <a:cs typeface="Arial" pitchFamily="34" charset="0"/>
              </a:rPr>
              <a:t>С</a:t>
            </a:r>
          </a:p>
          <a:p>
            <a:r>
              <a:rPr lang="ru-RU" b="1" dirty="0">
                <a:cs typeface="Arial" pitchFamily="34" charset="0"/>
              </a:rPr>
              <a:t>Питание – 15-20 кг карбамида + набор микроэлементов</a:t>
            </a:r>
          </a:p>
          <a:p>
            <a:r>
              <a:rPr lang="ru-RU" b="1" dirty="0">
                <a:cs typeface="Arial" pitchFamily="34" charset="0"/>
              </a:rPr>
              <a:t>рН – нормализованный</a:t>
            </a:r>
          </a:p>
          <a:p>
            <a:r>
              <a:rPr lang="ru-RU" b="1" dirty="0">
                <a:cs typeface="Arial" pitchFamily="34" charset="0"/>
              </a:rPr>
              <a:t>Жесткость – не более 5-6</a:t>
            </a:r>
            <a:r>
              <a:rPr lang="ru-RU" b="1" baseline="30000" dirty="0">
                <a:cs typeface="Arial" pitchFamily="34" charset="0"/>
              </a:rPr>
              <a:t>0</a:t>
            </a:r>
            <a:r>
              <a:rPr lang="ru-RU" b="1" dirty="0">
                <a:cs typeface="Arial" pitchFamily="34" charset="0"/>
              </a:rPr>
              <a:t>Ж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667254" y="5733971"/>
            <a:ext cx="6968955" cy="3693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91440" tIns="0" rIns="91440" bIns="0" rtlCol="0">
            <a:spAutoFit/>
          </a:bodyPr>
          <a:lstStyle/>
          <a:p>
            <a:r>
              <a:rPr lang="ru-RU" sz="2200" b="1" dirty="0">
                <a:cs typeface="Arial" pitchFamily="34" charset="0"/>
              </a:rPr>
              <a:t>Что это дает?    </a:t>
            </a:r>
            <a:r>
              <a:rPr lang="ru-RU" sz="2400" b="1" dirty="0">
                <a:solidFill>
                  <a:srgbClr val="006600"/>
                </a:solidFill>
                <a:cs typeface="Arial" pitchFamily="34" charset="0"/>
              </a:rPr>
              <a:t>+750 </a:t>
            </a:r>
            <a:r>
              <a:rPr lang="ru-RU" sz="2200" b="1" dirty="0" err="1" smtClean="0">
                <a:cs typeface="Arial" pitchFamily="34" charset="0"/>
              </a:rPr>
              <a:t>тыс.тн</a:t>
            </a:r>
            <a:r>
              <a:rPr lang="ru-RU" sz="2200" b="1" dirty="0" smtClean="0">
                <a:cs typeface="Arial" pitchFamily="34" charset="0"/>
              </a:rPr>
              <a:t> </a:t>
            </a:r>
            <a:r>
              <a:rPr lang="ru-RU" sz="2200" b="1" dirty="0">
                <a:cs typeface="Arial" pitchFamily="34" charset="0"/>
              </a:rPr>
              <a:t>зерна    </a:t>
            </a:r>
            <a:r>
              <a:rPr lang="ru-RU" sz="2200" b="1" dirty="0">
                <a:solidFill>
                  <a:srgbClr val="006600"/>
                </a:solidFill>
                <a:cs typeface="Arial" pitchFamily="34" charset="0"/>
              </a:rPr>
              <a:t>Экономия СЗР</a:t>
            </a:r>
          </a:p>
        </p:txBody>
      </p:sp>
      <p:grpSp>
        <p:nvGrpSpPr>
          <p:cNvPr id="20" name="Группа 19"/>
          <p:cNvGrpSpPr/>
          <p:nvPr/>
        </p:nvGrpSpPr>
        <p:grpSpPr>
          <a:xfrm>
            <a:off x="2660869" y="2980934"/>
            <a:ext cx="2850699" cy="2778873"/>
            <a:chOff x="2920181" y="3211287"/>
            <a:chExt cx="2850699" cy="2778873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>
              <a:off x="4024520" y="4343386"/>
              <a:ext cx="689518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/>
            <p:cNvCxnSpPr/>
            <p:nvPr/>
          </p:nvCxnSpPr>
          <p:spPr>
            <a:xfrm>
              <a:off x="4703878" y="3221072"/>
              <a:ext cx="106700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/>
            <p:cNvCxnSpPr/>
            <p:nvPr/>
          </p:nvCxnSpPr>
          <p:spPr>
            <a:xfrm flipV="1">
              <a:off x="3260904" y="4343386"/>
              <a:ext cx="768612" cy="164677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/>
            <p:cNvCxnSpPr/>
            <p:nvPr/>
          </p:nvCxnSpPr>
          <p:spPr>
            <a:xfrm flipH="1" flipV="1">
              <a:off x="2920181" y="3510118"/>
              <a:ext cx="1104339" cy="83326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/>
            <p:cNvCxnSpPr/>
            <p:nvPr/>
          </p:nvCxnSpPr>
          <p:spPr>
            <a:xfrm>
              <a:off x="4703878" y="3211287"/>
              <a:ext cx="0" cy="1134893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>
              <a:off x="5760518" y="3229217"/>
              <a:ext cx="0" cy="697469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100" name="Picture 4" descr="Картинки по запросу пруд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94464" y="4744658"/>
            <a:ext cx="2404656" cy="1767699"/>
          </a:xfrm>
          <a:prstGeom prst="rect">
            <a:avLst/>
          </a:prstGeom>
          <a:noFill/>
          <a:ln w="19050">
            <a:solidFill>
              <a:srgbClr val="008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Группа 25"/>
          <p:cNvGrpSpPr/>
          <p:nvPr/>
        </p:nvGrpSpPr>
        <p:grpSpPr>
          <a:xfrm>
            <a:off x="8122689" y="4140023"/>
            <a:ext cx="2741645" cy="1307471"/>
            <a:chOff x="8382000" y="4370377"/>
            <a:chExt cx="2741645" cy="1307470"/>
          </a:xfrm>
        </p:grpSpPr>
        <p:cxnSp>
          <p:nvCxnSpPr>
            <p:cNvPr id="46" name="Прямая соединительная линия 45"/>
            <p:cNvCxnSpPr/>
            <p:nvPr/>
          </p:nvCxnSpPr>
          <p:spPr>
            <a:xfrm flipV="1">
              <a:off x="8382000" y="5675279"/>
              <a:ext cx="1684943" cy="38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>
              <a:off x="10055588" y="4370377"/>
              <a:ext cx="0" cy="130747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единительная линия 49"/>
            <p:cNvCxnSpPr/>
            <p:nvPr/>
          </p:nvCxnSpPr>
          <p:spPr>
            <a:xfrm>
              <a:off x="10056643" y="4382927"/>
              <a:ext cx="106700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Прямая соединительная линия 50"/>
            <p:cNvCxnSpPr/>
            <p:nvPr/>
          </p:nvCxnSpPr>
          <p:spPr>
            <a:xfrm>
              <a:off x="11119858" y="4377825"/>
              <a:ext cx="0" cy="377225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Прямоугольник 32"/>
          <p:cNvSpPr/>
          <p:nvPr/>
        </p:nvSpPr>
        <p:spPr>
          <a:xfrm>
            <a:off x="8374004" y="5267482"/>
            <a:ext cx="946521" cy="332525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algn="ctr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Насос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452979" y="5343140"/>
            <a:ext cx="209368" cy="229972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algn="ctr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Х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585882" y="6068666"/>
            <a:ext cx="8336829" cy="70788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ru-RU" sz="2000" b="1" dirty="0">
                <a:solidFill>
                  <a:srgbClr val="C00000"/>
                </a:solidFill>
                <a:cs typeface="Arial" pitchFamily="34" charset="0"/>
              </a:rPr>
              <a:t>Объем емкости должна быть из расчета 2-х дневной потребности воды </a:t>
            </a:r>
            <a:endParaRPr lang="ru-RU" sz="2000" b="1" dirty="0" smtClean="0">
              <a:solidFill>
                <a:srgbClr val="C00000"/>
              </a:solidFill>
              <a:cs typeface="Arial" pitchFamily="34" charset="0"/>
            </a:endParaRPr>
          </a:p>
          <a:p>
            <a:pPr algn="ctr"/>
            <a:r>
              <a:rPr lang="ru-RU" sz="2000" b="1" dirty="0" smtClean="0">
                <a:solidFill>
                  <a:srgbClr val="C00000"/>
                </a:solidFill>
                <a:cs typeface="Arial" pitchFamily="34" charset="0"/>
              </a:rPr>
              <a:t>в </a:t>
            </a:r>
            <a:r>
              <a:rPr lang="ru-RU" sz="2000" b="1" dirty="0">
                <a:solidFill>
                  <a:srgbClr val="C00000"/>
                </a:solidFill>
                <a:cs typeface="Arial" pitchFamily="34" charset="0"/>
              </a:rPr>
              <a:t>период интенсивного опрыскивания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766604" y="4990793"/>
            <a:ext cx="209368" cy="229972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algn="ctr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Х</a:t>
            </a:r>
          </a:p>
        </p:txBody>
      </p:sp>
      <p:pic>
        <p:nvPicPr>
          <p:cNvPr id="6146" name="Picture 2" descr="Смешиватели транспортировочные комбинированные СТК-5, СТК-11 - ООО ..."/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79" r="18183"/>
          <a:stretch/>
        </p:blipFill>
        <p:spPr bwMode="auto">
          <a:xfrm>
            <a:off x="9949617" y="4524785"/>
            <a:ext cx="1910690" cy="1154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Скругленный прямоугольник 34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32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4098" name="Picture 2" descr="Картинки по запросу башня водонапорная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4"/>
          <a:stretch/>
        </p:blipFill>
        <p:spPr bwMode="auto">
          <a:xfrm>
            <a:off x="1344445" y="2016599"/>
            <a:ext cx="1637083" cy="2533134"/>
          </a:xfrm>
          <a:prstGeom prst="rect">
            <a:avLst/>
          </a:prstGeom>
          <a:noFill/>
          <a:ln w="19050">
            <a:solidFill>
              <a:srgbClr val="008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63165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426764" y="1159521"/>
            <a:ext cx="7063435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426764" y="981952"/>
            <a:ext cx="7063435" cy="735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32514" y="1057789"/>
            <a:ext cx="11359486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АКТИВНО РАБОТАЮЩИЕ РАЙОНЫ </a:t>
            </a:r>
            <a:endParaRPr lang="ru-RU" sz="2600" dirty="0" smtClean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О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СОЗДАНИЮ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РАСТВОРНЫХ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УЗЛОВ В 2020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ГОДУ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959748" y="2047014"/>
            <a:ext cx="5176737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 err="1" smtClean="0"/>
              <a:t>Тюлячинский</a:t>
            </a:r>
            <a:r>
              <a:rPr lang="ru-RU" sz="2400" b="1" dirty="0" smtClean="0"/>
              <a:t> муниципальный район</a:t>
            </a:r>
          </a:p>
          <a:p>
            <a:pPr algn="ctr"/>
            <a:r>
              <a:rPr lang="ru-RU" sz="2400" b="1" dirty="0" smtClean="0"/>
              <a:t>за </a:t>
            </a:r>
            <a:r>
              <a:rPr lang="ru-RU" sz="2400" b="1" dirty="0" smtClean="0"/>
              <a:t>15 дней – </a:t>
            </a:r>
            <a:r>
              <a:rPr lang="ru-RU" sz="2800" b="1" dirty="0" smtClean="0">
                <a:solidFill>
                  <a:srgbClr val="006600"/>
                </a:solidFill>
              </a:rPr>
              <a:t>5</a:t>
            </a:r>
            <a:r>
              <a:rPr lang="ru-RU" sz="2400" b="1" dirty="0" smtClean="0"/>
              <a:t> ед. новых объектов</a:t>
            </a:r>
            <a:endParaRPr lang="ru-RU" sz="2400" b="1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72"/>
          <a:stretch/>
        </p:blipFill>
        <p:spPr>
          <a:xfrm>
            <a:off x="6689811" y="3263152"/>
            <a:ext cx="2481922" cy="2367837"/>
          </a:xfrm>
          <a:prstGeom prst="rect">
            <a:avLst/>
          </a:prstGeom>
          <a:ln w="38100">
            <a:solidFill>
              <a:srgbClr val="008000"/>
            </a:solidFill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7" r="17531"/>
          <a:stretch/>
        </p:blipFill>
        <p:spPr>
          <a:xfrm>
            <a:off x="9384372" y="4175904"/>
            <a:ext cx="2504386" cy="2367104"/>
          </a:xfrm>
          <a:prstGeom prst="rect">
            <a:avLst/>
          </a:prstGeom>
          <a:ln w="38100">
            <a:solidFill>
              <a:srgbClr val="008000"/>
            </a:solidFill>
          </a:ln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96"/>
          <a:stretch/>
        </p:blipFill>
        <p:spPr>
          <a:xfrm>
            <a:off x="1018744" y="3263153"/>
            <a:ext cx="2504386" cy="2367836"/>
          </a:xfrm>
          <a:prstGeom prst="rect">
            <a:avLst/>
          </a:prstGeom>
          <a:ln w="38100">
            <a:solidFill>
              <a:srgbClr val="008000"/>
            </a:solidFill>
          </a:ln>
        </p:spPr>
      </p:pic>
      <p:sp>
        <p:nvSpPr>
          <p:cNvPr id="16" name="TextBox 15"/>
          <p:cNvSpPr txBox="1"/>
          <p:nvPr/>
        </p:nvSpPr>
        <p:spPr>
          <a:xfrm>
            <a:off x="6689811" y="5344227"/>
            <a:ext cx="2499852" cy="307777"/>
          </a:xfrm>
          <a:prstGeom prst="rect">
            <a:avLst/>
          </a:prstGeom>
          <a:solidFill>
            <a:srgbClr val="008000"/>
          </a:solidFill>
          <a:effectLst/>
        </p:spPr>
        <p:txBody>
          <a:bodyPr wrap="none" tIns="0" bIns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ru-RU" dirty="0"/>
              <a:t>КФХ «Ахметова Г.Ф.»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982883" y="5314631"/>
            <a:ext cx="1657826" cy="615553"/>
          </a:xfrm>
          <a:prstGeom prst="rect">
            <a:avLst/>
          </a:prstGeom>
          <a:solidFill>
            <a:srgbClr val="008000"/>
          </a:solidFill>
          <a:effectLst/>
        </p:spPr>
        <p:txBody>
          <a:bodyPr wrap="none" tIns="0" bIns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ru-RU" dirty="0"/>
              <a:t>СССОПОК </a:t>
            </a:r>
            <a:endParaRPr lang="ru-RU" dirty="0" smtClean="0"/>
          </a:p>
          <a:p>
            <a:r>
              <a:rPr lang="ru-RU" dirty="0" smtClean="0"/>
              <a:t>«</a:t>
            </a:r>
            <a:r>
              <a:rPr lang="ru-RU" dirty="0" err="1"/>
              <a:t>Баландыш</a:t>
            </a:r>
            <a:r>
              <a:rPr lang="ru-RU" dirty="0"/>
              <a:t>»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9384372" y="6235231"/>
            <a:ext cx="2220608" cy="307777"/>
          </a:xfrm>
          <a:prstGeom prst="rect">
            <a:avLst/>
          </a:prstGeom>
          <a:solidFill>
            <a:srgbClr val="008000"/>
          </a:solidFill>
          <a:effectLst/>
        </p:spPr>
        <p:txBody>
          <a:bodyPr wrap="none" tIns="0" bIns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ru-RU" dirty="0"/>
              <a:t>ООО </a:t>
            </a:r>
            <a:r>
              <a:rPr lang="ru-RU" dirty="0" smtClean="0"/>
              <a:t>АФ </a:t>
            </a:r>
            <a:r>
              <a:rPr lang="ru-RU" dirty="0"/>
              <a:t>«Чулпан»</a:t>
            </a:r>
            <a:endParaRPr lang="ru-RU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24" r="7116"/>
          <a:stretch/>
        </p:blipFill>
        <p:spPr>
          <a:xfrm>
            <a:off x="3968713" y="4153325"/>
            <a:ext cx="2504386" cy="2367104"/>
          </a:xfrm>
          <a:prstGeom prst="rect">
            <a:avLst/>
          </a:prstGeom>
          <a:ln w="38100">
            <a:solidFill>
              <a:srgbClr val="008000"/>
            </a:solidFill>
          </a:ln>
        </p:spPr>
      </p:pic>
      <p:sp>
        <p:nvSpPr>
          <p:cNvPr id="22" name="TextBox 21"/>
          <p:cNvSpPr txBox="1"/>
          <p:nvPr/>
        </p:nvSpPr>
        <p:spPr>
          <a:xfrm>
            <a:off x="3968713" y="6217379"/>
            <a:ext cx="1817101" cy="307777"/>
          </a:xfrm>
          <a:prstGeom prst="rect">
            <a:avLst/>
          </a:prstGeom>
          <a:solidFill>
            <a:srgbClr val="008000"/>
          </a:solidFill>
          <a:effectLst/>
        </p:spPr>
        <p:txBody>
          <a:bodyPr wrap="none" tIns="0" bIns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ru-RU" dirty="0"/>
              <a:t>ООО «Игенче»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21" t="31761" r="25455" b="17667"/>
          <a:stretch/>
        </p:blipFill>
        <p:spPr>
          <a:xfrm>
            <a:off x="9660236" y="2318713"/>
            <a:ext cx="1034041" cy="1574727"/>
          </a:xfrm>
          <a:prstGeom prst="rect">
            <a:avLst/>
          </a:prstGeom>
          <a:ln w="38100">
            <a:solidFill>
              <a:srgbClr val="008000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5" t="10898" r="21467" b="9882"/>
          <a:stretch/>
        </p:blipFill>
        <p:spPr>
          <a:xfrm>
            <a:off x="10959417" y="2318714"/>
            <a:ext cx="769439" cy="1556492"/>
          </a:xfrm>
          <a:prstGeom prst="rect">
            <a:avLst/>
          </a:prstGeom>
          <a:ln w="38100">
            <a:solidFill>
              <a:srgbClr val="008000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33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39526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832514" y="986069"/>
            <a:ext cx="11359486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АКТИВНО РАБОТАЮЩИЕ РАЙОНЫ </a:t>
            </a:r>
            <a:endParaRPr lang="ru-RU" sz="2600" dirty="0" smtClean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О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СОЗДАНИЮ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РАСТВОРНЫХ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УЗЛОВ В 2020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ГОДУ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957285" y="1886902"/>
            <a:ext cx="28742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algn="ctr">
              <a:defRPr sz="2400" b="1"/>
            </a:lvl1pPr>
          </a:lstStyle>
          <a:p>
            <a:r>
              <a:rPr lang="ru-RU" dirty="0"/>
              <a:t>АО </a:t>
            </a:r>
            <a:r>
              <a:rPr lang="ru-RU" dirty="0" smtClean="0"/>
              <a:t>«</a:t>
            </a:r>
            <a:r>
              <a:rPr lang="ru-RU" dirty="0" err="1" smtClean="0"/>
              <a:t>Татагролизинг</a:t>
            </a:r>
            <a:r>
              <a:rPr lang="ru-RU" dirty="0" smtClean="0"/>
              <a:t>»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462" y="4686782"/>
            <a:ext cx="3261733" cy="1897920"/>
          </a:xfrm>
          <a:prstGeom prst="rect">
            <a:avLst/>
          </a:prstGeom>
          <a:ln w="38100">
            <a:solidFill>
              <a:srgbClr val="008000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36"/>
          <a:stretch/>
        </p:blipFill>
        <p:spPr>
          <a:xfrm>
            <a:off x="4670551" y="4686782"/>
            <a:ext cx="3331318" cy="1888955"/>
          </a:xfrm>
          <a:prstGeom prst="rect">
            <a:avLst/>
          </a:prstGeom>
          <a:ln w="38100">
            <a:solidFill>
              <a:srgbClr val="008000"/>
            </a:solidFill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8329" y="2519083"/>
            <a:ext cx="3253493" cy="1853121"/>
          </a:xfrm>
          <a:prstGeom prst="rect">
            <a:avLst/>
          </a:prstGeom>
          <a:ln w="38100">
            <a:solidFill>
              <a:srgbClr val="008000"/>
            </a:solidFill>
          </a:ln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75"/>
          <a:stretch/>
        </p:blipFill>
        <p:spPr>
          <a:xfrm>
            <a:off x="2863766" y="2519082"/>
            <a:ext cx="3547114" cy="1853121"/>
          </a:xfrm>
          <a:prstGeom prst="rect">
            <a:avLst/>
          </a:prstGeom>
          <a:ln w="38100">
            <a:solidFill>
              <a:srgbClr val="008000"/>
            </a:solidFill>
          </a:ln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27" b="5847"/>
          <a:stretch/>
        </p:blipFill>
        <p:spPr>
          <a:xfrm>
            <a:off x="1292603" y="4686782"/>
            <a:ext cx="3002105" cy="1878102"/>
          </a:xfrm>
          <a:prstGeom prst="rect">
            <a:avLst/>
          </a:prstGeom>
          <a:ln w="38100">
            <a:solidFill>
              <a:srgbClr val="008000"/>
            </a:solidFill>
          </a:ln>
        </p:spPr>
      </p:pic>
      <p:sp>
        <p:nvSpPr>
          <p:cNvPr id="17" name="Скругленный прямоугольник 16"/>
          <p:cNvSpPr/>
          <p:nvPr/>
        </p:nvSpPr>
        <p:spPr>
          <a:xfrm>
            <a:off x="1174489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34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374462" y="6064626"/>
            <a:ext cx="2113079" cy="553998"/>
          </a:xfrm>
          <a:prstGeom prst="rect">
            <a:avLst/>
          </a:prstGeom>
          <a:solidFill>
            <a:srgbClr val="008000"/>
          </a:solidFill>
          <a:effectLst/>
        </p:spPr>
        <p:txBody>
          <a:bodyPr wrap="none" tIns="0" bIns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ru-RU" sz="1800" dirty="0"/>
              <a:t>ООО </a:t>
            </a:r>
            <a:r>
              <a:rPr lang="ru-RU" sz="1800" dirty="0" smtClean="0"/>
              <a:t>«</a:t>
            </a:r>
            <a:r>
              <a:rPr lang="ru-RU" sz="1800" dirty="0" err="1" smtClean="0"/>
              <a:t>Нармонка</a:t>
            </a:r>
            <a:r>
              <a:rPr lang="ru-RU" sz="1800" dirty="0" smtClean="0"/>
              <a:t>», </a:t>
            </a:r>
            <a:endParaRPr lang="ru-RU" sz="1800" dirty="0"/>
          </a:p>
          <a:p>
            <a:r>
              <a:rPr lang="ru-RU" sz="1800" dirty="0" err="1"/>
              <a:t>Лаишевский</a:t>
            </a:r>
            <a:r>
              <a:rPr lang="ru-RU" sz="1800" dirty="0"/>
              <a:t> район</a:t>
            </a:r>
            <a:endParaRPr lang="ru-RU" sz="1800" dirty="0"/>
          </a:p>
        </p:txBody>
      </p:sp>
      <p:sp>
        <p:nvSpPr>
          <p:cNvPr id="21" name="TextBox 20"/>
          <p:cNvSpPr txBox="1"/>
          <p:nvPr/>
        </p:nvSpPr>
        <p:spPr>
          <a:xfrm>
            <a:off x="4652621" y="6031904"/>
            <a:ext cx="2113079" cy="553998"/>
          </a:xfrm>
          <a:prstGeom prst="rect">
            <a:avLst/>
          </a:prstGeom>
          <a:solidFill>
            <a:srgbClr val="008000"/>
          </a:solidFill>
          <a:effectLst/>
        </p:spPr>
        <p:txBody>
          <a:bodyPr wrap="none" tIns="0" bIns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ru-RU" sz="1800" dirty="0"/>
              <a:t>ООО </a:t>
            </a:r>
            <a:r>
              <a:rPr lang="ru-RU" sz="1800" dirty="0" smtClean="0"/>
              <a:t>«</a:t>
            </a:r>
            <a:r>
              <a:rPr lang="ru-RU" sz="1800" dirty="0" err="1" smtClean="0"/>
              <a:t>Нармонка</a:t>
            </a:r>
            <a:r>
              <a:rPr lang="ru-RU" sz="1800" dirty="0" smtClean="0"/>
              <a:t>», </a:t>
            </a:r>
            <a:endParaRPr lang="ru-RU" sz="1800" dirty="0"/>
          </a:p>
          <a:p>
            <a:r>
              <a:rPr lang="ru-RU" sz="1800" dirty="0" err="1"/>
              <a:t>Лаишевский</a:t>
            </a:r>
            <a:r>
              <a:rPr lang="ru-RU" sz="1800" dirty="0"/>
              <a:t> район</a:t>
            </a:r>
            <a:endParaRPr lang="ru-RU" sz="1800" dirty="0"/>
          </a:p>
        </p:txBody>
      </p:sp>
      <p:sp>
        <p:nvSpPr>
          <p:cNvPr id="22" name="TextBox 21"/>
          <p:cNvSpPr txBox="1"/>
          <p:nvPr/>
        </p:nvSpPr>
        <p:spPr>
          <a:xfrm>
            <a:off x="1283638" y="6022939"/>
            <a:ext cx="2877967" cy="553998"/>
          </a:xfrm>
          <a:prstGeom prst="rect">
            <a:avLst/>
          </a:prstGeom>
          <a:solidFill>
            <a:srgbClr val="008000"/>
          </a:solidFill>
          <a:effectLst/>
        </p:spPr>
        <p:txBody>
          <a:bodyPr wrap="none" tIns="0" bIns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ru-RU" sz="1800" dirty="0"/>
              <a:t>ООО </a:t>
            </a:r>
            <a:r>
              <a:rPr lang="ru-RU" sz="1800" dirty="0" smtClean="0"/>
              <a:t>«</a:t>
            </a:r>
            <a:r>
              <a:rPr lang="ru-RU" sz="1800" dirty="0" err="1" smtClean="0"/>
              <a:t>Нармонка</a:t>
            </a:r>
            <a:r>
              <a:rPr lang="ru-RU" sz="1800" dirty="0" smtClean="0"/>
              <a:t>», </a:t>
            </a:r>
            <a:r>
              <a:rPr lang="ru-RU" sz="1800" dirty="0"/>
              <a:t>ф-л №4 </a:t>
            </a:r>
          </a:p>
          <a:p>
            <a:r>
              <a:rPr lang="ru-RU" sz="1800" dirty="0" err="1"/>
              <a:t>Верхнеуслонский</a:t>
            </a:r>
            <a:r>
              <a:rPr lang="ru-RU" sz="1800" dirty="0"/>
              <a:t> район</a:t>
            </a:r>
            <a:endParaRPr lang="ru-RU" sz="1800" dirty="0"/>
          </a:p>
        </p:txBody>
      </p:sp>
      <p:sp>
        <p:nvSpPr>
          <p:cNvPr id="23" name="TextBox 22"/>
          <p:cNvSpPr txBox="1"/>
          <p:nvPr/>
        </p:nvSpPr>
        <p:spPr>
          <a:xfrm>
            <a:off x="2836871" y="3830929"/>
            <a:ext cx="2877967" cy="553998"/>
          </a:xfrm>
          <a:prstGeom prst="rect">
            <a:avLst/>
          </a:prstGeom>
          <a:solidFill>
            <a:srgbClr val="008000"/>
          </a:solidFill>
          <a:effectLst/>
        </p:spPr>
        <p:txBody>
          <a:bodyPr wrap="none" tIns="0" bIns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ru-RU" sz="1800" dirty="0"/>
              <a:t>ООО </a:t>
            </a:r>
            <a:r>
              <a:rPr lang="ru-RU" sz="1800" dirty="0" smtClean="0"/>
              <a:t>«</a:t>
            </a:r>
            <a:r>
              <a:rPr lang="ru-RU" sz="1800" dirty="0" err="1" smtClean="0"/>
              <a:t>Нармонка</a:t>
            </a:r>
            <a:r>
              <a:rPr lang="ru-RU" sz="1800" dirty="0" smtClean="0"/>
              <a:t>», </a:t>
            </a:r>
            <a:r>
              <a:rPr lang="ru-RU" sz="1800" dirty="0"/>
              <a:t>ф-л №2 </a:t>
            </a:r>
          </a:p>
          <a:p>
            <a:r>
              <a:rPr lang="ru-RU" sz="1800" dirty="0" err="1" smtClean="0"/>
              <a:t>К.Устьинский</a:t>
            </a:r>
            <a:r>
              <a:rPr lang="ru-RU" sz="1800" dirty="0" smtClean="0"/>
              <a:t> </a:t>
            </a:r>
            <a:r>
              <a:rPr lang="ru-RU" sz="1800" dirty="0"/>
              <a:t>район</a:t>
            </a:r>
            <a:endParaRPr lang="ru-RU" sz="1800" dirty="0"/>
          </a:p>
        </p:txBody>
      </p:sp>
      <p:sp>
        <p:nvSpPr>
          <p:cNvPr id="24" name="TextBox 23"/>
          <p:cNvSpPr txBox="1"/>
          <p:nvPr/>
        </p:nvSpPr>
        <p:spPr>
          <a:xfrm>
            <a:off x="7019364" y="4117626"/>
            <a:ext cx="2141164" cy="276999"/>
          </a:xfrm>
          <a:prstGeom prst="rect">
            <a:avLst/>
          </a:prstGeom>
          <a:solidFill>
            <a:srgbClr val="008000"/>
          </a:solidFill>
          <a:effectLst/>
        </p:spPr>
        <p:txBody>
          <a:bodyPr wrap="none" tIns="0" bIns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ru-RU" sz="1800" dirty="0"/>
              <a:t>АФ </a:t>
            </a:r>
            <a:r>
              <a:rPr lang="ru-RU" sz="1800" dirty="0" smtClean="0"/>
              <a:t>«</a:t>
            </a:r>
            <a:r>
              <a:rPr lang="ru-RU" sz="1800" dirty="0" err="1" smtClean="0"/>
              <a:t>Аксубаевская</a:t>
            </a:r>
            <a:r>
              <a:rPr lang="ru-RU" sz="1800" dirty="0" smtClean="0"/>
              <a:t>»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925060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426764" y="1159521"/>
            <a:ext cx="7063435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426764" y="981952"/>
            <a:ext cx="7063435" cy="735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32514" y="1107848"/>
            <a:ext cx="11359486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ЗАДАЧА – </a:t>
            </a:r>
            <a:endParaRPr lang="ru-RU" sz="2600" dirty="0" smtClean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ДО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5 МАЯ СОЗДАТЬ РАСТВОРНЫЕ УЗЛЫ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ВО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ВСЕХ ХОЗЯЙСТВАХ &gt;500 ГА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174489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35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021571"/>
              </p:ext>
            </p:extLst>
          </p:nvPr>
        </p:nvGraphicFramePr>
        <p:xfrm>
          <a:off x="1432102" y="2193942"/>
          <a:ext cx="10115036" cy="4332366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3041883">
                  <a:extLst>
                    <a:ext uri="{9D8B030D-6E8A-4147-A177-3AD203B41FA5}">
                      <a16:colId xmlns:a16="http://schemas.microsoft.com/office/drawing/2014/main" xmlns="" val="3448977992"/>
                    </a:ext>
                  </a:extLst>
                </a:gridCol>
                <a:gridCol w="2949389">
                  <a:extLst>
                    <a:ext uri="{9D8B030D-6E8A-4147-A177-3AD203B41FA5}">
                      <a16:colId xmlns:a16="http://schemas.microsoft.com/office/drawing/2014/main" xmlns="" val="3638449037"/>
                    </a:ext>
                  </a:extLst>
                </a:gridCol>
                <a:gridCol w="1792941">
                  <a:extLst>
                    <a:ext uri="{9D8B030D-6E8A-4147-A177-3AD203B41FA5}">
                      <a16:colId xmlns:a16="http://schemas.microsoft.com/office/drawing/2014/main" xmlns="" val="1134940257"/>
                    </a:ext>
                  </a:extLst>
                </a:gridCol>
                <a:gridCol w="2330823">
                  <a:extLst>
                    <a:ext uri="{9D8B030D-6E8A-4147-A177-3AD203B41FA5}">
                      <a16:colId xmlns:a16="http://schemas.microsoft.com/office/drawing/2014/main" xmlns="" val="3638748125"/>
                    </a:ext>
                  </a:extLst>
                </a:gridCol>
              </a:tblGrid>
              <a:tr h="3072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u="none" strike="noStrike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Район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u="none" strike="noStrike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Кол-во СХО</a:t>
                      </a:r>
                      <a:r>
                        <a:rPr lang="ru-RU" sz="2000" b="1" u="none" strike="noStrike" baseline="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b="1" u="none" strike="noStrike" baseline="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ru-RU" sz="2000" b="1" u="none" strike="noStrike" baseline="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500 га</a:t>
                      </a:r>
                      <a:r>
                        <a:rPr lang="ru-RU" sz="2000" b="1" u="none" strike="noStrike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, ед.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Наличие, </a:t>
                      </a:r>
                      <a:r>
                        <a:rPr lang="ru-RU" sz="2000" b="1" u="none" strike="noStrike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ед.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% </a:t>
                      </a:r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беспеченности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8951043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етюшски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61374739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алтасински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60531375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укморски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20056448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мадышски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96988944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тнински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68103613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юлячински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97473211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убаевский</a:t>
                      </a: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7894717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нзелински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68987301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рмановски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72105555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Чистопольски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3006150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айбицки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587598433"/>
                  </a:ext>
                </a:extLst>
              </a:tr>
              <a:tr h="30726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пастовски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50777020"/>
                  </a:ext>
                </a:extLst>
              </a:tr>
              <a:tr h="337986">
                <a:tc>
                  <a:txBody>
                    <a:bodyPr/>
                    <a:lstStyle/>
                    <a:p>
                      <a:pPr algn="l" fontAlgn="b"/>
                      <a:r>
                        <a:rPr lang="ru-RU" sz="2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Республика Татарстан</a:t>
                      </a:r>
                      <a:endParaRPr lang="ru-RU" sz="2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4957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45189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>
                <a:solidFill>
                  <a:prstClr val="black"/>
                </a:solidFill>
                <a:cs typeface="Arial" panose="020B0604020202020204" pitchFamily="34" charset="0"/>
              </a:rPr>
              <a:t>4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91571" y="1117281"/>
            <a:ext cx="1140043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УРОЖАЙ С ПОЛЕЙ В 2019 ГОДУ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(В ЗЕРНОЕДИНИЦАХ, Ц/ГА)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311801"/>
              </p:ext>
            </p:extLst>
          </p:nvPr>
        </p:nvGraphicFramePr>
        <p:xfrm>
          <a:off x="1135360" y="1849048"/>
          <a:ext cx="3764186" cy="4663440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209915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6502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18547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</a:p>
                  </a:txBody>
                  <a:tcPr marL="96000" marR="127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Урожайность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1270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Заин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9,6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тнин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7,5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322663856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ензелин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6,1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787838664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ктаныш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5,4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алтасин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5,2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етюш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5,0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уин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3,8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укмор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3,4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укаевский</a:t>
                      </a: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3,2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арманов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3,0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урлат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2,6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абинский</a:t>
                      </a: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1,9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пастов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1,6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рский</a:t>
                      </a: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9,9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рожжановский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8,9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590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ижнекамский</a:t>
                      </a: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7,7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5145796" y="6242787"/>
            <a:ext cx="2660726" cy="400110"/>
          </a:xfrm>
          <a:prstGeom prst="rect">
            <a:avLst/>
          </a:prstGeom>
          <a:noFill/>
          <a:effectLst/>
        </p:spPr>
        <p:txBody>
          <a:bodyPr wrap="square" lIns="36000" tIns="0" rIns="36000" bIns="0" rtlCol="0">
            <a:spAutoFit/>
          </a:bodyPr>
          <a:lstStyle>
            <a:defPPr>
              <a:defRPr lang="ru-RU"/>
            </a:defPPr>
            <a:lvl1pPr>
              <a:defRPr sz="2200" b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 algn="ctr"/>
            <a:r>
              <a:rPr lang="ru-RU" sz="2600" dirty="0">
                <a:solidFill>
                  <a:srgbClr val="006600"/>
                </a:solidFill>
                <a:effectLst/>
                <a:latin typeface="+mn-lt"/>
              </a:rPr>
              <a:t>По </a:t>
            </a:r>
            <a:r>
              <a:rPr lang="ru-RU" sz="2600" dirty="0" smtClean="0">
                <a:solidFill>
                  <a:srgbClr val="006600"/>
                </a:solidFill>
                <a:effectLst/>
                <a:latin typeface="+mn-lt"/>
              </a:rPr>
              <a:t>РТ – 27,2 ц/га</a:t>
            </a:r>
            <a:endParaRPr lang="ru-RU" sz="2600" dirty="0">
              <a:solidFill>
                <a:srgbClr val="006600"/>
              </a:solidFill>
              <a:effectLst/>
              <a:latin typeface="+mn-lt"/>
            </a:endParaRPr>
          </a:p>
        </p:txBody>
      </p:sp>
      <p:grpSp>
        <p:nvGrpSpPr>
          <p:cNvPr id="29" name="Группа 11"/>
          <p:cNvGrpSpPr/>
          <p:nvPr/>
        </p:nvGrpSpPr>
        <p:grpSpPr>
          <a:xfrm>
            <a:off x="5145862" y="1855637"/>
            <a:ext cx="2660660" cy="4223213"/>
            <a:chOff x="3482190" y="1178822"/>
            <a:chExt cx="2241908" cy="4609458"/>
          </a:xfrm>
          <a:effectLst/>
        </p:grpSpPr>
        <p:pic>
          <p:nvPicPr>
            <p:cNvPr id="30" name="Picture 2" descr="\\RAY\Pictures\НОВАЯ БАЗА\РАСТЕНИЕВОДСТВО\ЗЕРНОВЫЕ И ЗЕРНОБОБОВЫЕ\Поля зерновых\Пшеница\P1010194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82190" y="1178822"/>
              <a:ext cx="2241908" cy="1483804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4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82190" y="2770162"/>
              <a:ext cx="2241908" cy="1532916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6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82190" y="4318068"/>
              <a:ext cx="2241908" cy="1470212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585243"/>
              </p:ext>
            </p:extLst>
          </p:nvPr>
        </p:nvGraphicFramePr>
        <p:xfrm>
          <a:off x="8052772" y="1873522"/>
          <a:ext cx="3760043" cy="4663440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20329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2711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</a:t>
                      </a:r>
                    </a:p>
                  </a:txBody>
                  <a:tcPr marL="96000" marR="127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Урожайность</a:t>
                      </a:r>
                      <a:endParaRPr lang="ru-RU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12700" marT="0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Елабужский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3,6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юлячинский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3,5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158588487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Лениногорский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3,4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876799448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енделеевский</a:t>
                      </a: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3,0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лексеевский</a:t>
                      </a: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2,6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естречинский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2,6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Лаишевский</a:t>
                      </a: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1,8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угульминский</a:t>
                      </a: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1,7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В.Услонский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1,2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пасский</a:t>
                      </a: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,8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лькеевский</a:t>
                      </a: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,6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Зеленодольский </a:t>
                      </a: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,5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.Шешминский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,0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льметьевский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9,3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.Устьинский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8,0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183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грызский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6000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14,0</a:t>
                      </a:r>
                    </a:p>
                  </a:txBody>
                  <a:tcPr marL="9525" marR="9525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40721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5611850"/>
              </p:ext>
            </p:extLst>
          </p:nvPr>
        </p:nvGraphicFramePr>
        <p:xfrm>
          <a:off x="1559496" y="4255329"/>
          <a:ext cx="9768124" cy="2459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4113497"/>
              </p:ext>
            </p:extLst>
          </p:nvPr>
        </p:nvGraphicFramePr>
        <p:xfrm>
          <a:off x="1559496" y="1639963"/>
          <a:ext cx="9691210" cy="21123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Скругленный прямоугольник 5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5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05218" y="3848690"/>
            <a:ext cx="113867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Объемы известкования кислых почв, </a:t>
            </a:r>
            <a:r>
              <a:rPr lang="ru-RU" sz="2800" dirty="0" err="1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тыс.га</a:t>
            </a:r>
            <a:endParaRPr lang="ru-RU" sz="28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05218" y="1019210"/>
            <a:ext cx="1138678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лощадь кислых почв по Татарстану, </a:t>
            </a:r>
            <a:r>
              <a:rPr lang="ru-RU" sz="2800" dirty="0" err="1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тыс.га</a:t>
            </a:r>
            <a:endParaRPr lang="ru-RU" sz="28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54229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50627" y="1137111"/>
            <a:ext cx="11407506" cy="89255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60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 smtClean="0"/>
              <a:t>СТРУКТУРА ПЛОЩАДЕЙ КИСЛЫХ ПОЧВ </a:t>
            </a:r>
            <a:br>
              <a:rPr lang="ru-RU" dirty="0" smtClean="0"/>
            </a:br>
            <a:r>
              <a:rPr lang="ru-RU" dirty="0" smtClean="0"/>
              <a:t>ПО ГРУППАМ КИСЛОТНОСТИ ПО </a:t>
            </a:r>
            <a:r>
              <a:rPr lang="ru-RU" dirty="0" smtClean="0"/>
              <a:t>РЕСПУБЛИКЕ ТАТАРСТАН, 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750627" y="6042760"/>
            <a:ext cx="11407506" cy="55399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ru-RU" sz="2800" b="1" dirty="0">
                <a:solidFill>
                  <a:srgbClr val="C00000"/>
                </a:solidFill>
              </a:rPr>
              <a:t>На кислых почвах </a:t>
            </a:r>
            <a:r>
              <a:rPr lang="ru-RU" sz="2800" b="1" dirty="0" smtClean="0">
                <a:solidFill>
                  <a:srgbClr val="C00000"/>
                </a:solidFill>
              </a:rPr>
              <a:t>минеральные удобрения не </a:t>
            </a:r>
            <a:r>
              <a:rPr lang="ru-RU" sz="2800" b="1" dirty="0">
                <a:solidFill>
                  <a:srgbClr val="C00000"/>
                </a:solidFill>
              </a:rPr>
              <a:t>работают!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6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1222358" y="1979836"/>
            <a:ext cx="10733208" cy="3942400"/>
            <a:chOff x="581423" y="4598900"/>
            <a:chExt cx="6871422" cy="2115619"/>
          </a:xfrm>
        </p:grpSpPr>
        <p:graphicFrame>
          <p:nvGraphicFramePr>
            <p:cNvPr id="10" name="Диаграмма 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42249499"/>
                </p:ext>
              </p:extLst>
            </p:nvPr>
          </p:nvGraphicFramePr>
          <p:xfrm>
            <a:off x="581423" y="4598900"/>
            <a:ext cx="6871422" cy="21156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3" name="TextBox 12"/>
            <p:cNvSpPr txBox="1"/>
            <p:nvPr/>
          </p:nvSpPr>
          <p:spPr>
            <a:xfrm>
              <a:off x="1375192" y="5664968"/>
              <a:ext cx="352208" cy="280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2800" b="1" dirty="0" smtClean="0"/>
                <a:t>24</a:t>
              </a:r>
              <a:endParaRPr lang="ru-RU" sz="2800" b="1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347792" y="5950432"/>
              <a:ext cx="352208" cy="280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2800" b="1" dirty="0" smtClean="0"/>
                <a:t>35</a:t>
              </a:r>
              <a:endParaRPr lang="ru-RU" sz="2800" b="1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756233" y="5096067"/>
              <a:ext cx="235216" cy="280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2800" b="1" dirty="0" smtClean="0"/>
                <a:t>8</a:t>
              </a:r>
              <a:endParaRPr lang="ru-RU" sz="2800" b="1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890736" y="4736453"/>
              <a:ext cx="235215" cy="280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2800" b="1" dirty="0" smtClean="0"/>
                <a:t>1</a:t>
              </a:r>
              <a:endParaRPr lang="ru-RU" sz="2800" b="1" dirty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2918109" y="2906294"/>
            <a:ext cx="7104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32</a:t>
            </a:r>
            <a:endParaRPr lang="ru-RU" sz="2800" b="1" dirty="0"/>
          </a:p>
        </p:txBody>
      </p:sp>
    </p:spTree>
    <p:extLst>
      <p:ext uri="{BB962C8B-B14F-4D97-AF65-F5344CB8AC3E}">
        <p14:creationId xmlns:p14="http://schemas.microsoft.com/office/powerpoint/2010/main" val="29068809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2000" b="1" dirty="0">
                <a:solidFill>
                  <a:prstClr val="black"/>
                </a:solidFill>
                <a:cs typeface="Arial" panose="020B0604020202020204" pitchFamily="34" charset="0"/>
              </a:rPr>
              <a:t>7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818866" y="1225133"/>
            <a:ext cx="1137313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ОБЪЕМЫ ПРИМЕНЕНИЯ МИНЕРАЛЬНЫХ УДОБРЕНИЙ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2550309724"/>
              </p:ext>
            </p:extLst>
          </p:nvPr>
        </p:nvGraphicFramePr>
        <p:xfrm>
          <a:off x="1403310" y="2375648"/>
          <a:ext cx="10008760" cy="3935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478377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50627" y="1253726"/>
            <a:ext cx="11407506" cy="49244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60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/>
              <a:t>ЭФФЕКТИВНОСТЬ </a:t>
            </a:r>
            <a:r>
              <a:rPr lang="en-US" dirty="0"/>
              <a:t>NPK</a:t>
            </a:r>
            <a:r>
              <a:rPr lang="ru-RU" dirty="0"/>
              <a:t> (АЗОТ)</a:t>
            </a:r>
            <a:r>
              <a:rPr lang="en-US" dirty="0"/>
              <a:t> </a:t>
            </a:r>
            <a:r>
              <a:rPr lang="ru-RU" dirty="0"/>
              <a:t>И </a:t>
            </a:r>
            <a:r>
              <a:rPr lang="en-US" dirty="0" smtClean="0"/>
              <a:t>pH </a:t>
            </a:r>
            <a:r>
              <a:rPr lang="ru-RU" dirty="0"/>
              <a:t>ПОЧВЫ, %</a:t>
            </a:r>
            <a:endParaRPr lang="ru-RU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>
                <a:solidFill>
                  <a:prstClr val="black"/>
                </a:solidFill>
                <a:cs typeface="Arial" panose="020B0604020202020204" pitchFamily="34" charset="0"/>
              </a:rPr>
              <a:t>8</a:t>
            </a: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3681131718"/>
              </p:ext>
            </p:extLst>
          </p:nvPr>
        </p:nvGraphicFramePr>
        <p:xfrm>
          <a:off x="1963272" y="1981199"/>
          <a:ext cx="8937810" cy="4409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693590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50627" y="1262680"/>
            <a:ext cx="11407506" cy="49244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60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/>
              <a:t>ЭФФЕКТИВНОСТЬ </a:t>
            </a:r>
            <a:r>
              <a:rPr lang="en-US" dirty="0"/>
              <a:t>NPK</a:t>
            </a:r>
            <a:r>
              <a:rPr lang="ru-RU" dirty="0"/>
              <a:t> (</a:t>
            </a:r>
            <a:r>
              <a:rPr lang="en-US" dirty="0"/>
              <a:t>P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5</a:t>
            </a:r>
            <a:r>
              <a:rPr lang="ru-RU" dirty="0"/>
              <a:t>)</a:t>
            </a:r>
            <a:r>
              <a:rPr lang="en-US" dirty="0"/>
              <a:t> </a:t>
            </a:r>
            <a:r>
              <a:rPr lang="ru-RU" dirty="0"/>
              <a:t>И </a:t>
            </a:r>
            <a:r>
              <a:rPr lang="en-US" dirty="0" smtClean="0"/>
              <a:t>pH </a:t>
            </a:r>
            <a:r>
              <a:rPr lang="ru-RU" dirty="0"/>
              <a:t>ПОЧВЫ, %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cs typeface="Arial" panose="020B0604020202020204" pitchFamily="34" charset="0"/>
              </a:rPr>
              <a:t>9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83602004"/>
              </p:ext>
            </p:extLst>
          </p:nvPr>
        </p:nvGraphicFramePr>
        <p:xfrm>
          <a:off x="1949615" y="2026024"/>
          <a:ext cx="9009529" cy="4365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645831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1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394</TotalTime>
  <Words>1538</Words>
  <Application>Microsoft Office PowerPoint</Application>
  <PresentationFormat>Произвольный</PresentationFormat>
  <Paragraphs>796</Paragraphs>
  <Slides>3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38" baseType="lpstr">
      <vt:lpstr>16_Firm Format - Russian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olopov</dc:creator>
  <cp:lastModifiedBy>Строева Катя</cp:lastModifiedBy>
  <cp:revision>6776</cp:revision>
  <cp:lastPrinted>2020-04-21T13:02:54Z</cp:lastPrinted>
  <dcterms:created xsi:type="dcterms:W3CDTF">2017-01-20T06:03:46Z</dcterms:created>
  <dcterms:modified xsi:type="dcterms:W3CDTF">2020-04-22T06:06:16Z</dcterms:modified>
</cp:coreProperties>
</file>